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521" r:id="rId4"/>
    <p:sldMasterId id="2147484655" r:id="rId5"/>
    <p:sldMasterId id="2147484686" r:id="rId6"/>
    <p:sldMasterId id="2147484690" r:id="rId7"/>
  </p:sldMasterIdLst>
  <p:notesMasterIdLst>
    <p:notesMasterId r:id="rId9"/>
  </p:notesMasterIdLst>
  <p:handoutMasterIdLst>
    <p:handoutMasterId r:id="rId10"/>
  </p:handoutMasterIdLst>
  <p:sldIdLst>
    <p:sldId id="2147482310" r:id="rId8"/>
  </p:sldIdLst>
  <p:sldSz cx="24377650" cy="13716000"/>
  <p:notesSz cx="6858000" cy="9144000"/>
  <p:defaultTextStyle>
    <a:defPPr>
      <a:defRPr lang="en-US"/>
    </a:defPPr>
    <a:lvl1pPr marL="0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1pPr>
    <a:lvl2pPr marL="914056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2pPr>
    <a:lvl3pPr marL="1828115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3pPr>
    <a:lvl4pPr marL="2742171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4pPr>
    <a:lvl5pPr marL="3656229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5pPr>
    <a:lvl6pPr marL="4570285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6pPr>
    <a:lvl7pPr marL="5484344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7pPr>
    <a:lvl8pPr marL="6398400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8pPr>
    <a:lvl9pPr marL="7312456" algn="l" defTabSz="1828115" rtl="0" eaLnBrk="1" latinLnBrk="0" hangingPunct="1">
      <a:defRPr sz="359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DEFE0E2-C7E6-171D-0C92-0EB1C123A6C5}" name="Sahr, Melanie" initials="SM" userId="S::melanie.sahr@axelspringer.com::2bbc597e-6326-4521-a688-fdfc6f1410b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üger, Martin" initials="RM" lastIdx="32" clrIdx="0">
    <p:extLst>
      <p:ext uri="{19B8F6BF-5375-455C-9EA6-DF929625EA0E}">
        <p15:presenceInfo xmlns:p15="http://schemas.microsoft.com/office/powerpoint/2012/main" userId="S::martin.rueger@axelspringer.com::5284480d-1d5b-4d81-81a2-5fc77c353865" providerId="AD"/>
      </p:ext>
    </p:extLst>
  </p:cmAuthor>
  <p:cmAuthor id="2" name="Vieira, Sandra" initials="VS" lastIdx="2" clrIdx="1">
    <p:extLst>
      <p:ext uri="{19B8F6BF-5375-455C-9EA6-DF929625EA0E}">
        <p15:presenceInfo xmlns:p15="http://schemas.microsoft.com/office/powerpoint/2012/main" userId="S::sandra.vieira@axelspringer.com::3c0c7896-9e7c-44c7-b7ac-ba2052b87986" providerId="AD"/>
      </p:ext>
    </p:extLst>
  </p:cmAuthor>
  <p:cmAuthor id="3" name="Mölling, Stefan" initials="MS" lastIdx="21" clrIdx="2">
    <p:extLst>
      <p:ext uri="{19B8F6BF-5375-455C-9EA6-DF929625EA0E}">
        <p15:presenceInfo xmlns:p15="http://schemas.microsoft.com/office/powerpoint/2012/main" userId="S::stefan.moelling@axelspringer.com::b3a986e1-77b3-416e-9bcb-55310084cb25" providerId="AD"/>
      </p:ext>
    </p:extLst>
  </p:cmAuthor>
  <p:cmAuthor id="4" name="Herrmann, Celine" initials="HC" lastIdx="4" clrIdx="3">
    <p:extLst>
      <p:ext uri="{19B8F6BF-5375-455C-9EA6-DF929625EA0E}">
        <p15:presenceInfo xmlns:p15="http://schemas.microsoft.com/office/powerpoint/2012/main" userId="S::celine.herrmann@axelspringer.com::86ec6654-3272-4596-a8c5-e6b37d185132" providerId="AD"/>
      </p:ext>
    </p:extLst>
  </p:cmAuthor>
  <p:cmAuthor id="5" name="Binder, Stefanie" initials="BS" lastIdx="2" clrIdx="4">
    <p:extLst>
      <p:ext uri="{19B8F6BF-5375-455C-9EA6-DF929625EA0E}">
        <p15:presenceInfo xmlns:p15="http://schemas.microsoft.com/office/powerpoint/2012/main" userId="S::stefanie.binder@axelspringer.com::fc76f1c3-6efd-43fe-bdf3-a14f5d3f8f5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clrMru>
    <a:srgbClr val="FFD583"/>
    <a:srgbClr val="0F0F38"/>
    <a:srgbClr val="80ECBC"/>
    <a:srgbClr val="EE7344"/>
    <a:srgbClr val="8DFFD1"/>
    <a:srgbClr val="47CBB8"/>
    <a:srgbClr val="B43C65"/>
    <a:srgbClr val="A52080"/>
    <a:srgbClr val="0000FF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68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400A2DE-6386-4850-B810-7D8EBF1744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40AF3A-50A1-4B56-9C9E-E739200A64C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0D8A0B-849F-4DC1-8D0D-223F98B91FC0}" type="datetimeFigureOut">
              <a:rPr lang="de-DE" smtClean="0"/>
              <a:t>23.05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6E4C92F-01B3-49B2-948A-3DF48227F7C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03E8D7D-2704-4C28-AC10-07E55EA4039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A7A42B-9719-4C58-BF70-6FDB57EFA2C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9902324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 Nova Light" panose="020B0304020202020204" pitchFamily="34" charset="0"/>
              </a:defRPr>
            </a:lvl1pPr>
          </a:lstStyle>
          <a:p>
            <a:fld id="{EFC10EE1-B198-C942-8235-326C972CBB30}" type="datetimeFigureOut">
              <a:rPr lang="en-US" smtClean="0"/>
              <a:pPr/>
              <a:t>5/2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 Nova Light" panose="020B0304020202020204" pitchFamily="34" charset="0"/>
              </a:defRPr>
            </a:lvl1pPr>
          </a:lstStyle>
          <a:p>
            <a:fld id="{006BE02D-20C0-F840-AFAC-BEA99C74FDC2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89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56" rtl="0" eaLnBrk="1" latinLnBrk="0" hangingPunct="1">
      <a:defRPr sz="2400" kern="1200">
        <a:solidFill>
          <a:schemeClr val="tx1"/>
        </a:solidFill>
        <a:latin typeface="Arial Nova Light" panose="020B0304020202020204" pitchFamily="34" charset="0"/>
        <a:ea typeface="+mn-ea"/>
        <a:cs typeface="+mn-cs"/>
      </a:defRPr>
    </a:lvl1pPr>
    <a:lvl2pPr marL="914056" algn="l" defTabSz="914056" rtl="0" eaLnBrk="1" latinLnBrk="0" hangingPunct="1">
      <a:defRPr sz="2400" kern="1200">
        <a:solidFill>
          <a:schemeClr val="tx1"/>
        </a:solidFill>
        <a:latin typeface="Arial Nova Light" panose="020B0304020202020204" pitchFamily="34" charset="0"/>
        <a:ea typeface="+mn-ea"/>
        <a:cs typeface="+mn-cs"/>
      </a:defRPr>
    </a:lvl2pPr>
    <a:lvl3pPr marL="1828115" algn="l" defTabSz="914056" rtl="0" eaLnBrk="1" latinLnBrk="0" hangingPunct="1">
      <a:defRPr sz="2400" kern="1200">
        <a:solidFill>
          <a:schemeClr val="tx1"/>
        </a:solidFill>
        <a:latin typeface="Arial Nova Light" panose="020B0304020202020204" pitchFamily="34" charset="0"/>
        <a:ea typeface="+mn-ea"/>
        <a:cs typeface="+mn-cs"/>
      </a:defRPr>
    </a:lvl3pPr>
    <a:lvl4pPr marL="2742171" algn="l" defTabSz="914056" rtl="0" eaLnBrk="1" latinLnBrk="0" hangingPunct="1">
      <a:defRPr sz="2400" kern="1200">
        <a:solidFill>
          <a:schemeClr val="tx1"/>
        </a:solidFill>
        <a:latin typeface="Arial Nova Light" panose="020B0304020202020204" pitchFamily="34" charset="0"/>
        <a:ea typeface="+mn-ea"/>
        <a:cs typeface="+mn-cs"/>
      </a:defRPr>
    </a:lvl4pPr>
    <a:lvl5pPr marL="3656229" algn="l" defTabSz="914056" rtl="0" eaLnBrk="1" latinLnBrk="0" hangingPunct="1">
      <a:defRPr sz="2400" kern="1200">
        <a:solidFill>
          <a:schemeClr val="tx1"/>
        </a:solidFill>
        <a:latin typeface="Arial Nova Light" panose="020B0304020202020204" pitchFamily="34" charset="0"/>
        <a:ea typeface="+mn-ea"/>
        <a:cs typeface="+mn-cs"/>
      </a:defRPr>
    </a:lvl5pPr>
    <a:lvl6pPr marL="4570285" algn="l" defTabSz="9140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4344" algn="l" defTabSz="9140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398400" algn="l" defTabSz="9140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2456" algn="l" defTabSz="914056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3851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vorname.nachname@axelspringer.com" TargetMode="External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hyperlink" Target="mailto:vorname.nachname@axelspringer.com" TargetMode="External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hyperlink" Target="mailto:vorname.nachname@axelspringer.com" TargetMode="External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BBAD31-64C9-4410-ABA9-7E4C3EEF66F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9818" y="-30751"/>
            <a:ext cx="24387469" cy="13746751"/>
          </a:xfrm>
          <a:prstGeom prst="rect">
            <a:avLst/>
          </a:prstGeom>
          <a:gradFill>
            <a:gsLst>
              <a:gs pos="0">
                <a:srgbClr val="BFBFBF"/>
              </a:gs>
              <a:gs pos="88000">
                <a:srgbClr val="E7E7E7"/>
              </a:gs>
            </a:gsLst>
            <a:lin ang="3720000" scaled="0"/>
          </a:gra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" panose="020B0504020202020204" pitchFamily="34" charset="0"/>
                <a:ea typeface="Arial Nova" panose="020B05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DEED4C2-242B-46BE-8B87-7665BDD76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2188" y="4549676"/>
            <a:ext cx="22393275" cy="4616648"/>
          </a:xfrm>
        </p:spPr>
        <p:txBody>
          <a:bodyPr lIns="0" anchor="b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000" b="0">
                <a:solidFill>
                  <a:schemeClr val="bg1"/>
                </a:solidFill>
                <a:latin typeface="Mont AS Heavy" panose="00000900000000000000" pitchFamily="2" charset="0"/>
              </a:defRPr>
            </a:lvl1pPr>
          </a:lstStyle>
          <a:p>
            <a:r>
              <a:rPr lang="de-DE"/>
              <a:t>TITEL </a:t>
            </a:r>
            <a:br>
              <a:rPr lang="de-DE"/>
            </a:br>
            <a:r>
              <a:rPr lang="de-DE"/>
              <a:t>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FEF0DB6-FBE2-42ED-B0C6-F29E65FEFB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25978" y="9286558"/>
            <a:ext cx="2503891" cy="430887"/>
          </a:xfrm>
        </p:spPr>
        <p:txBody>
          <a:bodyPr wrap="none" lIns="0" tIns="0" rIns="0" bIns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 Light" panose="00000300000000000000" pitchFamily="2" charset="0"/>
                <a:cs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HEADLINE </a:t>
            </a:r>
          </a:p>
        </p:txBody>
      </p:sp>
      <p:grpSp>
        <p:nvGrpSpPr>
          <p:cNvPr id="13" name="Group 13">
            <a:extLst>
              <a:ext uri="{FF2B5EF4-FFF2-40B4-BE49-F238E27FC236}">
                <a16:creationId xmlns:a16="http://schemas.microsoft.com/office/drawing/2014/main" id="{EF275B64-8555-41CB-B962-A226E45060EB}"/>
              </a:ext>
            </a:extLst>
          </p:cNvPr>
          <p:cNvGrpSpPr/>
          <p:nvPr userDrawn="1"/>
        </p:nvGrpSpPr>
        <p:grpSpPr>
          <a:xfrm>
            <a:off x="7935195" y="3501483"/>
            <a:ext cx="8507260" cy="6713034"/>
            <a:chOff x="5950616" y="3256157"/>
            <a:chExt cx="12342605" cy="6713034"/>
          </a:xfrm>
        </p:grpSpPr>
        <p:cxnSp>
          <p:nvCxnSpPr>
            <p:cNvPr id="15" name="Straight Connector 30">
              <a:extLst>
                <a:ext uri="{FF2B5EF4-FFF2-40B4-BE49-F238E27FC236}">
                  <a16:creationId xmlns:a16="http://schemas.microsoft.com/office/drawing/2014/main" id="{D643ABFA-6DED-47D4-A56B-1ED521C0D2B1}"/>
                </a:ext>
              </a:extLst>
            </p:cNvPr>
            <p:cNvCxnSpPr/>
            <p:nvPr/>
          </p:nvCxnSpPr>
          <p:spPr>
            <a:xfrm>
              <a:off x="5950616" y="3256157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3">
              <a:extLst>
                <a:ext uri="{FF2B5EF4-FFF2-40B4-BE49-F238E27FC236}">
                  <a16:creationId xmlns:a16="http://schemas.microsoft.com/office/drawing/2014/main" id="{BE7EEA7F-AA55-4ECE-BB25-7AD133176265}"/>
                </a:ext>
              </a:extLst>
            </p:cNvPr>
            <p:cNvCxnSpPr/>
            <p:nvPr/>
          </p:nvCxnSpPr>
          <p:spPr>
            <a:xfrm>
              <a:off x="5950616" y="9969191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52354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1">
            <a:extLst>
              <a:ext uri="{FF2B5EF4-FFF2-40B4-BE49-F238E27FC236}">
                <a16:creationId xmlns:a16="http://schemas.microsoft.com/office/drawing/2014/main" id="{B61035E5-F1F1-4706-A8A4-12C7068173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E17D344-FFD8-45D8-AC7E-69C6580AABE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5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17CB59D-F8C8-43FE-B1A8-5EDFE859D29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B42D41C5-3352-4FE3-8F7C-68A204E79C4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89AD8F79-1421-4A33-A31E-5D478472B6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86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6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D7AABF0-0063-4876-A1CA-BFB9DF7235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7D7595D0-8564-4EA9-B627-70E840438B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06DEFBC-211C-48F1-9FE3-B48CE0031C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303860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4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F0EA465-9DFB-4360-82E9-9A941EA6F3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1419" y="9232020"/>
            <a:ext cx="6098400" cy="1818063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BB9883B4-06C3-4808-8CDF-A72A272ABF3A}"/>
              </a:ext>
            </a:extLst>
          </p:cNvPr>
          <p:cNvCxnSpPr/>
          <p:nvPr userDrawn="1"/>
        </p:nvCxnSpPr>
        <p:spPr>
          <a:xfrm>
            <a:off x="0" y="7629908"/>
            <a:ext cx="2437765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5">
            <a:extLst>
              <a:ext uri="{FF2B5EF4-FFF2-40B4-BE49-F238E27FC236}">
                <a16:creationId xmlns:a16="http://schemas.microsoft.com/office/drawing/2014/main" id="{D44BD952-084E-4BFD-BB7D-7B2E2261526C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Oval 81">
            <a:extLst>
              <a:ext uri="{FF2B5EF4-FFF2-40B4-BE49-F238E27FC236}">
                <a16:creationId xmlns:a16="http://schemas.microsoft.com/office/drawing/2014/main" id="{0B7E8639-D113-4ACD-B817-6D09FC842BD5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91">
            <a:extLst>
              <a:ext uri="{FF2B5EF4-FFF2-40B4-BE49-F238E27FC236}">
                <a16:creationId xmlns:a16="http://schemas.microsoft.com/office/drawing/2014/main" id="{8517B031-8A18-4BD9-AC9E-290BB12097EC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DF31A0A8-89B2-45F6-BA51-F150A60CF1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687134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DD46441-4D82-419F-BAC2-AD5BCA847A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6702634" y="7154346"/>
            <a:ext cx="2393950" cy="833178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4800" b="1">
                <a:solidFill>
                  <a:srgbClr val="47CBB8"/>
                </a:solidFill>
              </a:defRPr>
            </a:lvl1pPr>
          </a:lstStyle>
          <a:p>
            <a:pPr lvl="0"/>
            <a:r>
              <a:rPr lang="de-DE"/>
              <a:t>FINISH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DE9E9F3-0AF4-4D9C-9551-798488C223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34242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6D1C5F2-8A05-4F51-952A-3E8060EED3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34242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7AA452DD-0430-4CFF-87F2-D87BD1CA292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66301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203DDD43-97E7-469F-B1C9-5BA5C3F35F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67914" y="9217506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D3410C09-568C-4FE5-B8A8-15D8CF79A1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893668" y="8582726"/>
            <a:ext cx="1366376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8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1698D06-29AB-4F27-9877-C0FB91ACC7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4242" y="4750677"/>
            <a:ext cx="1289433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7</a:t>
            </a:r>
          </a:p>
        </p:txBody>
      </p:sp>
      <p:cxnSp>
        <p:nvCxnSpPr>
          <p:cNvPr id="11" name="Straight Connector 3">
            <a:extLst>
              <a:ext uri="{FF2B5EF4-FFF2-40B4-BE49-F238E27FC236}">
                <a16:creationId xmlns:a16="http://schemas.microsoft.com/office/drawing/2014/main" id="{E52D3028-7717-46ED-B83A-05790AE3071C}"/>
              </a:ext>
            </a:extLst>
          </p:cNvPr>
          <p:cNvCxnSpPr>
            <a:endCxn id="21" idx="2"/>
          </p:cNvCxnSpPr>
          <p:nvPr userDrawn="1"/>
        </p:nvCxnSpPr>
        <p:spPr>
          <a:xfrm>
            <a:off x="0" y="7629908"/>
            <a:ext cx="16031172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81">
            <a:extLst>
              <a:ext uri="{FF2B5EF4-FFF2-40B4-BE49-F238E27FC236}">
                <a16:creationId xmlns:a16="http://schemas.microsoft.com/office/drawing/2014/main" id="{0A1A2121-D3EB-415C-B084-0DFB136ECADC}"/>
              </a:ext>
            </a:extLst>
          </p:cNvPr>
          <p:cNvSpPr/>
          <p:nvPr userDrawn="1"/>
        </p:nvSpPr>
        <p:spPr>
          <a:xfrm>
            <a:off x="377293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Oval 91">
            <a:extLst>
              <a:ext uri="{FF2B5EF4-FFF2-40B4-BE49-F238E27FC236}">
                <a16:creationId xmlns:a16="http://schemas.microsoft.com/office/drawing/2014/main" id="{2534299D-9925-41C8-9551-DB28F238A42B}"/>
              </a:ext>
            </a:extLst>
          </p:cNvPr>
          <p:cNvSpPr/>
          <p:nvPr userDrawn="1"/>
        </p:nvSpPr>
        <p:spPr>
          <a:xfrm>
            <a:off x="1603117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345C7BDE-B611-41A4-8C44-8C161764191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A1C46FA8-CEE5-427D-AB6A-937B468C87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406147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5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ED1E2E8-9BBF-4EBE-8E18-4B3D6AE7B921}"/>
              </a:ext>
            </a:extLst>
          </p:cNvPr>
          <p:cNvCxnSpPr>
            <a:cxnSpLocks/>
          </p:cNvCxnSpPr>
          <p:nvPr userDrawn="1"/>
        </p:nvCxnSpPr>
        <p:spPr>
          <a:xfrm>
            <a:off x="3580371" y="7471584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2D28384-09DA-430B-B185-6B15590286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99667" y="7746398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F083210E-CE38-4862-8EDF-07BE0FD5E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43889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D1D31A5-961C-40E2-834F-A53E0FFEB1B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30376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EE6C1841-2C5E-41FF-AD7F-996404346B3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16864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8" name="Textplatzhalter 22">
            <a:extLst>
              <a:ext uri="{FF2B5EF4-FFF2-40B4-BE49-F238E27FC236}">
                <a16:creationId xmlns:a16="http://schemas.microsoft.com/office/drawing/2014/main" id="{045786C9-5300-4A08-8010-68938B84587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603351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18948A4A-7DD7-41F6-8D8C-E3AECC62983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8898392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B6283B5-90CB-4352-9C41-A722FDBB51E3}"/>
              </a:ext>
            </a:extLst>
          </p:cNvPr>
          <p:cNvCxnSpPr>
            <a:cxnSpLocks/>
          </p:cNvCxnSpPr>
          <p:nvPr userDrawn="1"/>
        </p:nvCxnSpPr>
        <p:spPr>
          <a:xfrm>
            <a:off x="1675964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D64BBDD-9767-437A-97D0-0215998786E9}"/>
              </a:ext>
            </a:extLst>
          </p:cNvPr>
          <p:cNvCxnSpPr>
            <a:cxnSpLocks/>
          </p:cNvCxnSpPr>
          <p:nvPr userDrawn="1"/>
        </p:nvCxnSpPr>
        <p:spPr>
          <a:xfrm>
            <a:off x="20944338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54BABF11-9AA9-4F20-89C2-4FDB05E6B773}"/>
              </a:ext>
            </a:extLst>
          </p:cNvPr>
          <p:cNvSpPr/>
          <p:nvPr userDrawn="1"/>
        </p:nvSpPr>
        <p:spPr>
          <a:xfrm>
            <a:off x="499663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A4D906C-5229-4D40-AF66-12F4875C638E}"/>
              </a:ext>
            </a:extLst>
          </p:cNvPr>
          <p:cNvSpPr/>
          <p:nvPr userDrawn="1"/>
        </p:nvSpPr>
        <p:spPr>
          <a:xfrm>
            <a:off x="7850254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864AE5A3-95B6-4323-AFCA-97F1DF7295B4}"/>
              </a:ext>
            </a:extLst>
          </p:cNvPr>
          <p:cNvSpPr/>
          <p:nvPr userDrawn="1"/>
        </p:nvSpPr>
        <p:spPr>
          <a:xfrm>
            <a:off x="10703872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0708BFC9-5B20-48A7-9699-4CEF6132F3DC}"/>
              </a:ext>
            </a:extLst>
          </p:cNvPr>
          <p:cNvSpPr/>
          <p:nvPr userDrawn="1"/>
        </p:nvSpPr>
        <p:spPr>
          <a:xfrm>
            <a:off x="13557490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FE754801-25AA-4ED4-B6B8-2AD702E2C13C}"/>
              </a:ext>
            </a:extLst>
          </p:cNvPr>
          <p:cNvSpPr/>
          <p:nvPr userDrawn="1"/>
        </p:nvSpPr>
        <p:spPr>
          <a:xfrm>
            <a:off x="16411108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0071ABAF-90C8-423B-9F33-28F333BCBE97}"/>
              </a:ext>
            </a:extLst>
          </p:cNvPr>
          <p:cNvSpPr/>
          <p:nvPr userDrawn="1"/>
        </p:nvSpPr>
        <p:spPr>
          <a:xfrm>
            <a:off x="1926472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61903F0F-1332-4947-8668-A7EBB5D70E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589970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495AB2FD-F119-490E-9A67-CDCCA8A31A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08400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1</a:t>
            </a:r>
          </a:p>
        </p:txBody>
      </p: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5AC73FFE-7AA2-495E-8B02-0E3ED3AEC7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25604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2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451FC3E7-886F-43CF-983D-E416A9C688B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4243342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3</a:t>
            </a:r>
          </a:p>
        </p:txBody>
      </p:sp>
      <p:sp>
        <p:nvSpPr>
          <p:cNvPr id="33" name="Textplatzhalter 29">
            <a:extLst>
              <a:ext uri="{FF2B5EF4-FFF2-40B4-BE49-F238E27FC236}">
                <a16:creationId xmlns:a16="http://schemas.microsoft.com/office/drawing/2014/main" id="{B3B39D5E-4687-4608-91AE-4F2DD621A6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962212" y="9737621"/>
            <a:ext cx="1608138" cy="433068"/>
          </a:xfrm>
        </p:spPr>
        <p:txBody>
          <a:bodyPr lIns="90000" tIns="46800" rIns="90000" bIns="46800" anchor="ctr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4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448F9AC-13D4-4DC5-9538-0EE07CA2B8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03069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26" name="Textplatzhalter 24">
            <a:extLst>
              <a:ext uri="{FF2B5EF4-FFF2-40B4-BE49-F238E27FC236}">
                <a16:creationId xmlns:a16="http://schemas.microsoft.com/office/drawing/2014/main" id="{964FDC84-E9FE-4EF4-BB5C-9715196F5D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21374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4B380E17-BA99-492E-8F74-BFEB75C877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039111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7851D134-D36A-4701-8F51-4CCD14EDD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757982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6DCEE5D-1162-435C-8B9D-5CBBF77F4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55669" y="6303553"/>
            <a:ext cx="131027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EAEA98D-8206-4BF3-98F9-FBB0D8A74E5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076448" y="6303553"/>
            <a:ext cx="13808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3CDD9CFA-2FDB-43F2-B95B-59774707F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357812" y="6303553"/>
            <a:ext cx="137920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FF431F93-0E2E-4BC9-A929-0D4F55F43A4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43045" y="6303553"/>
            <a:ext cx="137439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AFB270E0-6CD4-4176-BF94-19501833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6813601F-A6EE-43B6-815F-380FDC8D0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76DE45EE-1CB8-4DEB-A04B-92F28A12598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6932039-8106-4B5A-9F4D-1E9E30D121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403460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BA50F00-A376-4FEF-850C-72BCDB5B2C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60545" y="9637230"/>
            <a:ext cx="1380804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633517D7-5834-441A-A1BE-8C0838319C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877202" y="9637230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5998E42-052D-4A57-A761-C83AD24338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4874" y="9637230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9BE6F373-72B3-4CEA-B657-129359DEB9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55200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5BFE5BB5-A0EE-4137-BE18-1FB59EC0D0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66037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9" name="Textplatzhalter 24">
            <a:extLst>
              <a:ext uri="{FF2B5EF4-FFF2-40B4-BE49-F238E27FC236}">
                <a16:creationId xmlns:a16="http://schemas.microsoft.com/office/drawing/2014/main" id="{1F57B874-EF82-44AD-B39D-DA781E55EE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877526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AEA7E045-7959-475E-BBE7-07F759A751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55199" y="513444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1C1E501-93A8-4C38-B04C-D10ADE8DEB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60871" y="5134446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C5C0FF84-9728-4DAE-804C-62F2FD8645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77528" y="5134446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8" name="Textplatzhalter 24">
            <a:extLst>
              <a:ext uri="{FF2B5EF4-FFF2-40B4-BE49-F238E27FC236}">
                <a16:creationId xmlns:a16="http://schemas.microsoft.com/office/drawing/2014/main" id="{F2854146-6CE9-444F-952E-8243947A26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55526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6C294909-7B40-4B57-A9D1-EA96DB58C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66363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C239D4E2-2F95-4605-A144-2FCC9885492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6877852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A1E38BC3-2059-4D53-809E-40AA37A790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24E5D9F-2104-4727-9BAE-201B6F613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0" name="Rectangle 25">
            <a:extLst>
              <a:ext uri="{FF2B5EF4-FFF2-40B4-BE49-F238E27FC236}">
                <a16:creationId xmlns:a16="http://schemas.microsoft.com/office/drawing/2014/main" id="{91AA7CDC-40B9-4C07-A0BC-43AA4AE2C1E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8C18DD8D-D902-4F5A-8834-B8B81F51A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9634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char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6B698BE0-CB40-10B1-0411-537E15EB1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1463" y="3842911"/>
            <a:ext cx="10624998" cy="3300329"/>
          </a:xfrm>
        </p:spPr>
        <p:txBody>
          <a:bodyPr lIns="36000" tIns="36000" rIns="36000" bIns="3600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7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B43F34-628D-4E84-AF9E-1022C26135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5C6AE20E-5B7F-BAF5-34B2-3D54F11CE60D}"/>
              </a:ext>
            </a:extLst>
          </p:cNvPr>
          <p:cNvCxnSpPr/>
          <p:nvPr userDrawn="1"/>
        </p:nvCxnSpPr>
        <p:spPr>
          <a:xfrm flipV="1">
            <a:off x="1049224" y="7426041"/>
            <a:ext cx="6408000" cy="202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1685238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>
            <a:extLst>
              <a:ext uri="{FF2B5EF4-FFF2-40B4-BE49-F238E27FC236}">
                <a16:creationId xmlns:a16="http://schemas.microsoft.com/office/drawing/2014/main" id="{AC61D604-EBD9-4111-952E-FEEC295BE7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15286" y="7798304"/>
            <a:ext cx="8939994" cy="3110724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C0062E5-9E1E-4C66-AFC1-842A08173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08509" y="2728013"/>
            <a:ext cx="9446771" cy="4073798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3000" b="0">
                <a:solidFill>
                  <a:srgbClr val="0F0F38"/>
                </a:solidFill>
              </a:defRPr>
            </a:lvl1pPr>
          </a:lstStyle>
          <a:p>
            <a:r>
              <a:rPr lang="de-DE"/>
              <a:t>TITEL BEARBEIT.</a:t>
            </a: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07A4B4DC-0B8A-466F-ACF0-A042125AD245}"/>
              </a:ext>
            </a:extLst>
          </p:cNvPr>
          <p:cNvCxnSpPr/>
          <p:nvPr userDrawn="1"/>
        </p:nvCxnSpPr>
        <p:spPr>
          <a:xfrm flipV="1">
            <a:off x="15953838" y="7123813"/>
            <a:ext cx="7401442" cy="429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EF95D2FD-F5C1-4944-A837-58361580A1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9433" cy="13716000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rgbClr val="0F0F38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919703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link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2D7A5210-FAAD-4518-93BE-7BDB9A827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036D12A6-8E12-44E8-92CB-38913EAC84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5F2DF93D-194D-4849-8F7C-D67C5A6FF571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AE4B65E7-95EE-F94B-882B-CA65814B17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963E023-929E-4278-8499-23C911587466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321992F-4276-478A-B8EC-831AFDB9EE4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43941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FFD5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7C4A3D3-C08F-6E4C-9726-8E90E92E0DB9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A9DCE32F-82CE-434D-AB3F-D8D82DD409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gradFill>
                  <a:gsLst>
                    <a:gs pos="0">
                      <a:srgbClr val="EE7344"/>
                    </a:gs>
                    <a:gs pos="51000">
                      <a:srgbClr val="B43C65"/>
                    </a:gs>
                    <a:gs pos="100000">
                      <a:srgbClr val="A52080"/>
                    </a:gs>
                  </a:gsLst>
                  <a:lin ang="0" scaled="0"/>
                </a:gra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1655FB-A2BD-7E48-8061-E9D607379F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74A600D0-C015-944A-A986-5373CD1F003E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B43C6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2BAFAFF-CDEA-7E40-890C-86F2C115A1F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9B1E222A-86C8-B942-8FD6-2335D719CA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37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13">
            <a:extLst>
              <a:ext uri="{FF2B5EF4-FFF2-40B4-BE49-F238E27FC236}">
                <a16:creationId xmlns:a16="http://schemas.microsoft.com/office/drawing/2014/main" id="{D4F9432A-087F-41FA-9E6E-D518236A277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49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3EC33B3-B8E7-4363-9E01-F1968924BA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7756" y="2197945"/>
            <a:ext cx="6368905" cy="3046988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8" name="Textplatzhalter 18">
            <a:extLst>
              <a:ext uri="{FF2B5EF4-FFF2-40B4-BE49-F238E27FC236}">
                <a16:creationId xmlns:a16="http://schemas.microsoft.com/office/drawing/2014/main" id="{0FF27343-2CE3-4A5D-89C1-1A2EA26AF0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82402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9" name="Textplatzhalter 18">
            <a:extLst>
              <a:ext uri="{FF2B5EF4-FFF2-40B4-BE49-F238E27FC236}">
                <a16:creationId xmlns:a16="http://schemas.microsoft.com/office/drawing/2014/main" id="{6E93C50F-EC16-46A8-91AF-B11C6D2987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11863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00A6FB-D52A-4504-BB75-90F8DA0EE0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450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46F06DC-7F7C-8441-8326-168E3B9679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5" name="Rectangle 28">
            <a:extLst>
              <a:ext uri="{FF2B5EF4-FFF2-40B4-BE49-F238E27FC236}">
                <a16:creationId xmlns:a16="http://schemas.microsoft.com/office/drawing/2014/main" id="{90DAC45E-3078-4F98-BB11-D2688DF5E9AD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0F38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AE43AE4-5FC8-4B53-A4DC-48F2DA53B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4379F26-5842-430D-A750-A3B1F2D1ED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696EEC-A12A-4D93-A12C-CDD8ED373C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259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5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3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A6BF5741-6663-4F91-8E54-81F9B0BAAF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AE1A291-718B-4AC5-9BC6-D3486CFD44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95245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4F8960D8-14F1-4F50-8557-A9422A912C4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7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5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086E1399-4716-403C-93EF-39C460CE0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F088D9A9-9D5E-405A-9A16-2C8B7DF085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68B54CD5-0DA4-4ED2-BE7A-5A488843FE7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43D7E8B8-53E7-4D9F-9A7F-99E3E3E7DE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533357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D31D793F-024F-4B33-86F2-7A4C8F986A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4970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A495461A-EA81-472C-9981-7D5B1DBDE1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444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1EFAE153-9C1C-4261-BF45-0C1926065F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0307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89E4C361-97FA-47A1-AB64-65A5D6B2E0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422153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60269E40-A90C-45DE-B619-F9BD7156BC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6"/>
            <a:ext cx="22323423" cy="475323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5CA03EAB-381A-49F9-9936-C6F5C43B8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58A15B00-0176-4E3B-9F6E-8E966E7C3D82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0130162-2C9B-4DC8-AE4E-86FBF1E8C6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63144" y="9160411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172B992F-D625-4F32-8E8C-A34D23CBF8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295815" y="9160411"/>
            <a:ext cx="15411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 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F7766EAE-0C88-4010-9A75-983923D46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204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6E6B05D2-862C-47A0-93F1-DAE16974BD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1767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2030F7C6-1972-425B-B760-2553897884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749859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17F7E2AF-52DD-41A0-AFE4-228BD974CC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546770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BC9E9C5-744C-4F79-A6E1-417575DDD9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10691745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29A9C71E-7500-43ED-99B8-335EC43C3B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DEDA218-0FD2-4BD7-BBF9-3D7E94763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707A7660-E980-4A64-9931-1B039EA6B6F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EF00ABB4-254B-47C9-8E39-86097309483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62536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1</a:t>
            </a:r>
          </a:p>
        </p:txBody>
      </p:sp>
      <p:sp>
        <p:nvSpPr>
          <p:cNvPr id="26" name="Textplatzhalter 29">
            <a:extLst>
              <a:ext uri="{FF2B5EF4-FFF2-40B4-BE49-F238E27FC236}">
                <a16:creationId xmlns:a16="http://schemas.microsoft.com/office/drawing/2014/main" id="{BBAEBD02-E291-4A83-85BA-C3F87EB44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406527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2</a:t>
            </a:r>
          </a:p>
        </p:txBody>
      </p:sp>
      <p:sp>
        <p:nvSpPr>
          <p:cNvPr id="27" name="Textplatzhalter 29">
            <a:extLst>
              <a:ext uri="{FF2B5EF4-FFF2-40B4-BE49-F238E27FC236}">
                <a16:creationId xmlns:a16="http://schemas.microsoft.com/office/drawing/2014/main" id="{2A3CF59D-ECA1-4CB1-9975-65F2AC74BE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913418" y="7444382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3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1A13466-2447-4EF9-BDB1-BF5C6DB826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10855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4C89757E-0123-459A-87B5-84874218F6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654846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1DB4F51-216D-43E2-88AD-B137B5758D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161737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7F429CD0-C915-4842-A119-0F175849B0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73829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Bilderfol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329A1FEA-36C0-46B1-A22C-79CA84A3F8EF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7839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A93CD340-C9FF-4C60-BD2D-B1972C60F9BC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780575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5A16C52C-DCF4-420A-976B-DFADB8F0DC9C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2853831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EDECC6E0-90E0-44CC-A77A-93DF8BE0B8F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78517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DAF7022D-FFA6-4019-B683-5B2307DCE5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3028472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9B232F7E-D583-4FBE-9633-DD2B8C82BB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9754" y="9499947"/>
            <a:ext cx="218871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2537C1CB-98F7-4F9D-BB74-CBEAAEC262A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31919" y="10142690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89CAA96B-0E24-4766-A948-4DF28B18B8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71502" y="9501331"/>
            <a:ext cx="2267265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6AE252FA-D13C-47B9-994B-F16C5596BC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52941" y="10144074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1C1120E4-6248-4946-9F83-E555527B00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616224" y="9504992"/>
            <a:ext cx="227207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E41F3E3-E61C-4819-95D9-CE5C026CFC6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600067" y="10147735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215806F9-EFB7-462A-8234-A97BB4A78B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36445" y="9506376"/>
            <a:ext cx="2273677" cy="586957"/>
          </a:xfrm>
        </p:spPr>
        <p:txBody>
          <a:bodyPr wrap="none" lIns="90000" tIns="46800" rIns="90000" bIns="46800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61C55E8B-B9F1-41E1-A1FB-C5057172E0D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621089" y="10149119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7" name="AutoShape 35">
            <a:extLst>
              <a:ext uri="{FF2B5EF4-FFF2-40B4-BE49-F238E27FC236}">
                <a16:creationId xmlns:a16="http://schemas.microsoft.com/office/drawing/2014/main" id="{8E3D4E20-46AB-4D94-BB8D-99EDD5506671}"/>
              </a:ext>
            </a:extLst>
          </p:cNvPr>
          <p:cNvSpPr>
            <a:spLocks/>
          </p:cNvSpPr>
          <p:nvPr userDrawn="1"/>
        </p:nvSpPr>
        <p:spPr bwMode="auto">
          <a:xfrm>
            <a:off x="6096244" y="5980112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8" name="AutoShape 38">
            <a:extLst>
              <a:ext uri="{FF2B5EF4-FFF2-40B4-BE49-F238E27FC236}">
                <a16:creationId xmlns:a16="http://schemas.microsoft.com/office/drawing/2014/main" id="{2B02D462-BAB1-453F-9FB1-4B376C3DF387}"/>
              </a:ext>
            </a:extLst>
          </p:cNvPr>
          <p:cNvSpPr>
            <a:spLocks/>
          </p:cNvSpPr>
          <p:nvPr userDrawn="1"/>
        </p:nvSpPr>
        <p:spPr bwMode="auto">
          <a:xfrm>
            <a:off x="11130482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9" name="Freeform 2">
            <a:extLst>
              <a:ext uri="{FF2B5EF4-FFF2-40B4-BE49-F238E27FC236}">
                <a16:creationId xmlns:a16="http://schemas.microsoft.com/office/drawing/2014/main" id="{66069817-3316-4D6F-BFC8-36E271EF4E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825465" y="6587800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0" name="Freeform 2">
            <a:extLst>
              <a:ext uri="{FF2B5EF4-FFF2-40B4-BE49-F238E27FC236}">
                <a16:creationId xmlns:a16="http://schemas.microsoft.com/office/drawing/2014/main" id="{6A2D9E9A-6420-44FA-BA91-3007FE3193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00023" y="658779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AutoShape 41">
            <a:extLst>
              <a:ext uri="{FF2B5EF4-FFF2-40B4-BE49-F238E27FC236}">
                <a16:creationId xmlns:a16="http://schemas.microsoft.com/office/drawing/2014/main" id="{99D64F8F-66EC-4992-A347-2DFE7C3231EB}"/>
              </a:ext>
            </a:extLst>
          </p:cNvPr>
          <p:cNvSpPr>
            <a:spLocks/>
          </p:cNvSpPr>
          <p:nvPr userDrawn="1"/>
        </p:nvSpPr>
        <p:spPr bwMode="auto">
          <a:xfrm>
            <a:off x="16164721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22" name="Freeform 2">
            <a:extLst>
              <a:ext uri="{FF2B5EF4-FFF2-40B4-BE49-F238E27FC236}">
                <a16:creationId xmlns:a16="http://schemas.microsoft.com/office/drawing/2014/main" id="{B8D3C213-731D-4C35-87F2-BD04BADDA4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856733" y="661007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7A12FBD9-F953-4453-9D0D-65E0CFB6D5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BB49A98-3BD2-4D8C-9E24-912F92AA1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09A21FF-F0F7-4221-95E3-99D782CBD39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5C16AF4-AC3F-434D-9EA0-6A458055C6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669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5333DED6-CB63-471E-8C86-4E96728003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6003" y="2202007"/>
            <a:ext cx="9589783" cy="463846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6453E6D-8988-47DC-B00A-2FEC1C41D7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221631" y="8436896"/>
            <a:ext cx="7137188" cy="463846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2FE039D4-8715-412B-AD77-17C91AD73C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96939" y="7786202"/>
            <a:ext cx="6449675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28F5826C-FA98-43C4-A556-515AB0BED83C}"/>
              </a:ext>
            </a:extLst>
          </p:cNvPr>
          <p:cNvSpPr/>
          <p:nvPr userDrawn="1"/>
        </p:nvSpPr>
        <p:spPr>
          <a:xfrm>
            <a:off x="9869716" y="2906181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6F2613D5-2F37-4386-A890-3E6393EE1E04}"/>
              </a:ext>
            </a:extLst>
          </p:cNvPr>
          <p:cNvSpPr/>
          <p:nvPr userDrawn="1"/>
        </p:nvSpPr>
        <p:spPr>
          <a:xfrm>
            <a:off x="13446129" y="9147149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97569666-3A88-4808-B6EC-E45330DD8F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0713" y="1547416"/>
            <a:ext cx="6435073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D3C9B893-5569-4D6A-BC65-3D279B3746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6337" y="3568389"/>
            <a:ext cx="8489449" cy="1796252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17" name="Textplatzhalter 24">
            <a:extLst>
              <a:ext uri="{FF2B5EF4-FFF2-40B4-BE49-F238E27FC236}">
                <a16:creationId xmlns:a16="http://schemas.microsoft.com/office/drawing/2014/main" id="{B272E55B-8249-436D-B961-1CC6D68FE6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221631" y="9809355"/>
            <a:ext cx="8489449" cy="1796252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33BF56E-38E6-445F-B6B7-3E601EDEC10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6860715"/>
            <a:ext cx="12252907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E442BC2-8D14-485F-B313-A5FD8EBA5FD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2252908" y="0"/>
            <a:ext cx="12124741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0747273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platzhalter 24">
            <a:extLst>
              <a:ext uri="{FF2B5EF4-FFF2-40B4-BE49-F238E27FC236}">
                <a16:creationId xmlns:a16="http://schemas.microsoft.com/office/drawing/2014/main" id="{3AB3174B-4E02-4C2D-9BE6-9850661B19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53532" y="4258527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EE485F5-5EE9-4652-AE8D-8E10130DB7EA}"/>
              </a:ext>
            </a:extLst>
          </p:cNvPr>
          <p:cNvSpPr/>
          <p:nvPr userDrawn="1"/>
        </p:nvSpPr>
        <p:spPr>
          <a:xfrm>
            <a:off x="12468978" y="8091640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9" name="Rectangle 62">
            <a:extLst>
              <a:ext uri="{FF2B5EF4-FFF2-40B4-BE49-F238E27FC236}">
                <a16:creationId xmlns:a16="http://schemas.microsoft.com/office/drawing/2014/main" id="{E5D69472-5CAD-4E43-A925-02D0D4C07952}"/>
              </a:ext>
            </a:extLst>
          </p:cNvPr>
          <p:cNvSpPr/>
          <p:nvPr userDrawn="1"/>
        </p:nvSpPr>
        <p:spPr>
          <a:xfrm>
            <a:off x="12468976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66">
            <a:extLst>
              <a:ext uri="{FF2B5EF4-FFF2-40B4-BE49-F238E27FC236}">
                <a16:creationId xmlns:a16="http://schemas.microsoft.com/office/drawing/2014/main" id="{AA2CDCDC-23F4-4357-9EC9-12AAE0667B4F}"/>
              </a:ext>
            </a:extLst>
          </p:cNvPr>
          <p:cNvSpPr/>
          <p:nvPr userDrawn="1"/>
        </p:nvSpPr>
        <p:spPr>
          <a:xfrm>
            <a:off x="12468978" y="515705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5" name="Rectangle 70">
            <a:extLst>
              <a:ext uri="{FF2B5EF4-FFF2-40B4-BE49-F238E27FC236}">
                <a16:creationId xmlns:a16="http://schemas.microsoft.com/office/drawing/2014/main" id="{037AB560-D6FD-4618-A056-7ECA1394F2F5}"/>
              </a:ext>
            </a:extLst>
          </p:cNvPr>
          <p:cNvSpPr/>
          <p:nvPr userDrawn="1"/>
        </p:nvSpPr>
        <p:spPr>
          <a:xfrm>
            <a:off x="2410576" y="8091638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Rectangle 74">
            <a:extLst>
              <a:ext uri="{FF2B5EF4-FFF2-40B4-BE49-F238E27FC236}">
                <a16:creationId xmlns:a16="http://schemas.microsoft.com/office/drawing/2014/main" id="{D60BF983-271C-4906-A922-42CD77D25242}"/>
              </a:ext>
            </a:extLst>
          </p:cNvPr>
          <p:cNvSpPr/>
          <p:nvPr userDrawn="1"/>
        </p:nvSpPr>
        <p:spPr>
          <a:xfrm>
            <a:off x="2431841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Rectangle 78">
            <a:extLst>
              <a:ext uri="{FF2B5EF4-FFF2-40B4-BE49-F238E27FC236}">
                <a16:creationId xmlns:a16="http://schemas.microsoft.com/office/drawing/2014/main" id="{BD94000D-8E3C-4C70-BC31-DA68FA0EA4FB}"/>
              </a:ext>
            </a:extLst>
          </p:cNvPr>
          <p:cNvSpPr/>
          <p:nvPr userDrawn="1"/>
        </p:nvSpPr>
        <p:spPr>
          <a:xfrm>
            <a:off x="2431841" y="5157052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79">
            <a:extLst>
              <a:ext uri="{FF2B5EF4-FFF2-40B4-BE49-F238E27FC236}">
                <a16:creationId xmlns:a16="http://schemas.microsoft.com/office/drawing/2014/main" id="{44EB5F99-2771-4401-941E-A33044E71FAF}"/>
              </a:ext>
            </a:extLst>
          </p:cNvPr>
          <p:cNvSpPr/>
          <p:nvPr/>
        </p:nvSpPr>
        <p:spPr>
          <a:xfrm>
            <a:off x="2431841" y="5144453"/>
            <a:ext cx="6286859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F8628228-BB13-4A94-97BE-F93CC31CE19C}"/>
              </a:ext>
            </a:extLst>
          </p:cNvPr>
          <p:cNvSpPr/>
          <p:nvPr/>
        </p:nvSpPr>
        <p:spPr>
          <a:xfrm>
            <a:off x="12468975" y="5144453"/>
            <a:ext cx="4162998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9" name="Rectangle 71">
            <a:extLst>
              <a:ext uri="{FF2B5EF4-FFF2-40B4-BE49-F238E27FC236}">
                <a16:creationId xmlns:a16="http://schemas.microsoft.com/office/drawing/2014/main" id="{340A0113-B4CC-44DF-A2AF-6AF6DCBD335D}"/>
              </a:ext>
            </a:extLst>
          </p:cNvPr>
          <p:cNvSpPr/>
          <p:nvPr/>
        </p:nvSpPr>
        <p:spPr>
          <a:xfrm>
            <a:off x="2409538" y="8101344"/>
            <a:ext cx="8523442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75">
            <a:extLst>
              <a:ext uri="{FF2B5EF4-FFF2-40B4-BE49-F238E27FC236}">
                <a16:creationId xmlns:a16="http://schemas.microsoft.com/office/drawing/2014/main" id="{AC588129-B632-4FE9-8142-AD266CFA7679}"/>
              </a:ext>
            </a:extLst>
          </p:cNvPr>
          <p:cNvSpPr/>
          <p:nvPr/>
        </p:nvSpPr>
        <p:spPr>
          <a:xfrm>
            <a:off x="2431842" y="11049100"/>
            <a:ext cx="5585109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5" name="Rectangle 63">
            <a:extLst>
              <a:ext uri="{FF2B5EF4-FFF2-40B4-BE49-F238E27FC236}">
                <a16:creationId xmlns:a16="http://schemas.microsoft.com/office/drawing/2014/main" id="{3F5F0B02-267F-4355-9782-FE39ED4E5334}"/>
              </a:ext>
            </a:extLst>
          </p:cNvPr>
          <p:cNvSpPr/>
          <p:nvPr/>
        </p:nvSpPr>
        <p:spPr>
          <a:xfrm>
            <a:off x="12468976" y="11049100"/>
            <a:ext cx="5989146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8" name="Rectangle 59">
            <a:extLst>
              <a:ext uri="{FF2B5EF4-FFF2-40B4-BE49-F238E27FC236}">
                <a16:creationId xmlns:a16="http://schemas.microsoft.com/office/drawing/2014/main" id="{AD3685F1-63E8-464A-A42F-662770EFAFE1}"/>
              </a:ext>
            </a:extLst>
          </p:cNvPr>
          <p:cNvSpPr/>
          <p:nvPr/>
        </p:nvSpPr>
        <p:spPr>
          <a:xfrm>
            <a:off x="12468977" y="8101346"/>
            <a:ext cx="8583491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AEF81924-BD2E-4B79-AB16-FDA00EF9A9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3E8A280A-027B-4DD1-BB3D-F56AF56C3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42" name="Rectangle 19">
            <a:extLst>
              <a:ext uri="{FF2B5EF4-FFF2-40B4-BE49-F238E27FC236}">
                <a16:creationId xmlns:a16="http://schemas.microsoft.com/office/drawing/2014/main" id="{1CC76B6A-DABC-46C1-A5BD-7C6C15F7C107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1A6EEDB6-2554-4945-B6E5-F59297AC3F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53532" y="3639867"/>
            <a:ext cx="1324699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45" name="Textplatzhalter 24">
            <a:extLst>
              <a:ext uri="{FF2B5EF4-FFF2-40B4-BE49-F238E27FC236}">
                <a16:creationId xmlns:a16="http://schemas.microsoft.com/office/drawing/2014/main" id="{0590DE02-8E2E-483F-B6BB-BB03DF9F35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8974" y="4266116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6" name="Textplatzhalter 19">
            <a:extLst>
              <a:ext uri="{FF2B5EF4-FFF2-40B4-BE49-F238E27FC236}">
                <a16:creationId xmlns:a16="http://schemas.microsoft.com/office/drawing/2014/main" id="{C21C74AF-E9C0-4C79-A3A3-91112E2BEF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468974" y="363917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47" name="Textplatzhalter 24">
            <a:extLst>
              <a:ext uri="{FF2B5EF4-FFF2-40B4-BE49-F238E27FC236}">
                <a16:creationId xmlns:a16="http://schemas.microsoft.com/office/drawing/2014/main" id="{3E9B20F6-0B05-49C9-AAB5-AE8C414AF6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53532" y="7210864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8" name="Textplatzhalter 19">
            <a:extLst>
              <a:ext uri="{FF2B5EF4-FFF2-40B4-BE49-F238E27FC236}">
                <a16:creationId xmlns:a16="http://schemas.microsoft.com/office/drawing/2014/main" id="{D8893120-8D44-42D1-B769-4E68D96216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53532" y="6592204"/>
            <a:ext cx="140805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64DFBECE-D359-4194-B370-E4B1910245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468974" y="7218453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0" name="Textplatzhalter 19">
            <a:extLst>
              <a:ext uri="{FF2B5EF4-FFF2-40B4-BE49-F238E27FC236}">
                <a16:creationId xmlns:a16="http://schemas.microsoft.com/office/drawing/2014/main" id="{11000CCE-DDA3-4460-8AF5-0BC07D6AA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468974" y="6591513"/>
            <a:ext cx="1409658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4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F0239194-0531-4FD9-8636-B2AAD97B60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353532" y="10095769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DDCFA497-25D6-45F9-B073-DFC73516048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53532" y="9477109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6A85BDAD-EB65-4FEE-8CB4-696F41C451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468974" y="10103358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4" name="Textplatzhalter 19">
            <a:extLst>
              <a:ext uri="{FF2B5EF4-FFF2-40B4-BE49-F238E27FC236}">
                <a16:creationId xmlns:a16="http://schemas.microsoft.com/office/drawing/2014/main" id="{9D273F7E-3337-4719-A49E-E86518350E9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468974" y="9476418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5" name="Textplatzhalter 19">
            <a:extLst>
              <a:ext uri="{FF2B5EF4-FFF2-40B4-BE49-F238E27FC236}">
                <a16:creationId xmlns:a16="http://schemas.microsoft.com/office/drawing/2014/main" id="{3338E026-5EA7-45C1-BAA4-F2EC4EEEFED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51583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6" name="Textplatzhalter 19">
            <a:extLst>
              <a:ext uri="{FF2B5EF4-FFF2-40B4-BE49-F238E27FC236}">
                <a16:creationId xmlns:a16="http://schemas.microsoft.com/office/drawing/2014/main" id="{AC422482-FC79-4B33-9572-C9478C1658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94077" y="8179812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7" name="Textplatzhalter 19">
            <a:extLst>
              <a:ext uri="{FF2B5EF4-FFF2-40B4-BE49-F238E27FC236}">
                <a16:creationId xmlns:a16="http://schemas.microsoft.com/office/drawing/2014/main" id="{26FD1855-9CCA-41CD-81E7-66891DFCB1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08002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8" name="Textplatzhalter 19">
            <a:extLst>
              <a:ext uri="{FF2B5EF4-FFF2-40B4-BE49-F238E27FC236}">
                <a16:creationId xmlns:a16="http://schemas.microsoft.com/office/drawing/2014/main" id="{0C3E86B7-4253-4787-AA8D-FE0548DBA3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463549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9" name="Textplatzhalter 19">
            <a:extLst>
              <a:ext uri="{FF2B5EF4-FFF2-40B4-BE49-F238E27FC236}">
                <a16:creationId xmlns:a16="http://schemas.microsoft.com/office/drawing/2014/main" id="{DA58BBFB-F196-4DF5-AD8F-046398C9F0A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13565" y="8158546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60" name="Textplatzhalter 19">
            <a:extLst>
              <a:ext uri="{FF2B5EF4-FFF2-40B4-BE49-F238E27FC236}">
                <a16:creationId xmlns:a16="http://schemas.microsoft.com/office/drawing/2014/main" id="{8479F256-02BA-46A7-BD67-EE2075F2E9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217921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4DB5864-B3C3-4222-8CD6-23600BCC90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2838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C917511-2E2D-47DF-AA50-A5B0A11D9284}"/>
              </a:ext>
            </a:extLst>
          </p:cNvPr>
          <p:cNvSpPr/>
          <p:nvPr userDrawn="1"/>
        </p:nvSpPr>
        <p:spPr>
          <a:xfrm>
            <a:off x="5446643" y="4558934"/>
            <a:ext cx="16899825" cy="6269213"/>
          </a:xfrm>
          <a:prstGeom prst="roundRect">
            <a:avLst>
              <a:gd name="adj" fmla="val 945"/>
            </a:avLst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760B71-930F-4B21-986D-D0BBDF258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DC15372-F63C-4B6D-ABA3-1B84F4899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50117"/>
            <a:ext cx="22323424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3ED6C008-CBFE-4B50-9956-8CDC0ACA1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03770" y="5525376"/>
            <a:ext cx="1938649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753AEE9E-9E72-4C70-8607-4662DBF215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68504" y="6925441"/>
            <a:ext cx="200918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0D024CD7-8AA1-4228-A9DD-A48EEC8C7A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66901" y="8325506"/>
            <a:ext cx="2012388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32" name="Textplatzhalter 19">
            <a:extLst>
              <a:ext uri="{FF2B5EF4-FFF2-40B4-BE49-F238E27FC236}">
                <a16:creationId xmlns:a16="http://schemas.microsoft.com/office/drawing/2014/main" id="{D5D599BA-76FD-4782-8B64-DB53B1FB31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66099" y="9725570"/>
            <a:ext cx="201399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F36839B7-167A-4A6B-A658-1BE09DFA4C35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98CF1DF0-8B9E-43D2-9436-A84FF0668629}"/>
              </a:ext>
            </a:extLst>
          </p:cNvPr>
          <p:cNvCxnSpPr>
            <a:cxnSpLocks/>
          </p:cNvCxnSpPr>
          <p:nvPr userDrawn="1"/>
        </p:nvCxnSpPr>
        <p:spPr>
          <a:xfrm>
            <a:off x="5130140" y="4284845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2">
            <a:extLst>
              <a:ext uri="{FF2B5EF4-FFF2-40B4-BE49-F238E27FC236}">
                <a16:creationId xmlns:a16="http://schemas.microsoft.com/office/drawing/2014/main" id="{33637400-A15E-4C56-8F72-BCFE6E8EEA6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49436" y="4042074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75DB4D8-3781-4155-B9C3-FF7EA894192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866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5CBAD0AB-2003-40D1-BD7B-EFD70D4A1EB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85353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2EB9CF26-2A0C-4C53-B523-ED04E8CD75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1841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90CA3548-5DF3-4C37-B3D2-EFEEE873902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58328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74490123-0D1D-43B2-A9CC-102804D785E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0448161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63770BD-B86E-48FB-AEF0-07CA0484F791}"/>
              </a:ext>
            </a:extLst>
          </p:cNvPr>
          <p:cNvCxnSpPr/>
          <p:nvPr userDrawn="1"/>
        </p:nvCxnSpPr>
        <p:spPr>
          <a:xfrm>
            <a:off x="5129561" y="578733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CA0C30A-AD35-43FF-B9AB-0183CAF4F0C8}"/>
              </a:ext>
            </a:extLst>
          </p:cNvPr>
          <p:cNvCxnSpPr/>
          <p:nvPr userDrawn="1"/>
        </p:nvCxnSpPr>
        <p:spPr>
          <a:xfrm>
            <a:off x="5129561" y="719206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523B0FB-2FED-4131-B610-165E83C76D4A}"/>
              </a:ext>
            </a:extLst>
          </p:cNvPr>
          <p:cNvCxnSpPr/>
          <p:nvPr userDrawn="1"/>
        </p:nvCxnSpPr>
        <p:spPr>
          <a:xfrm>
            <a:off x="5129561" y="8570288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54F8E-F988-4803-8765-37CB8133C8C2}"/>
              </a:ext>
            </a:extLst>
          </p:cNvPr>
          <p:cNvCxnSpPr/>
          <p:nvPr userDrawn="1"/>
        </p:nvCxnSpPr>
        <p:spPr>
          <a:xfrm>
            <a:off x="5129561" y="9988271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0A80A279-1B7B-4AC0-89F9-815B20A8E6D4}"/>
              </a:ext>
            </a:extLst>
          </p:cNvPr>
          <p:cNvSpPr/>
          <p:nvPr userDrawn="1"/>
        </p:nvSpPr>
        <p:spPr>
          <a:xfrm>
            <a:off x="5848115" y="55604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8" name="Rounded Rectangle 28">
            <a:extLst>
              <a:ext uri="{FF2B5EF4-FFF2-40B4-BE49-F238E27FC236}">
                <a16:creationId xmlns:a16="http://schemas.microsoft.com/office/drawing/2014/main" id="{1E5E6E15-DE77-441C-8B50-01203037AFAC}"/>
              </a:ext>
            </a:extLst>
          </p:cNvPr>
          <p:cNvSpPr/>
          <p:nvPr userDrawn="1"/>
        </p:nvSpPr>
        <p:spPr>
          <a:xfrm>
            <a:off x="11353571" y="6960541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3E6B12DA-1A39-4E5D-B4FA-1A75A4309EEF}"/>
              </a:ext>
            </a:extLst>
          </p:cNvPr>
          <p:cNvSpPr/>
          <p:nvPr userDrawn="1"/>
        </p:nvSpPr>
        <p:spPr>
          <a:xfrm>
            <a:off x="8699581" y="83356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B9B4D638-59D4-4671-8B9A-C96242FAB64E}"/>
              </a:ext>
            </a:extLst>
          </p:cNvPr>
          <p:cNvSpPr/>
          <p:nvPr userDrawn="1"/>
        </p:nvSpPr>
        <p:spPr>
          <a:xfrm>
            <a:off x="17040691" y="5605031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B29ED2FA-EC34-4A12-BE36-3947EA366246}"/>
              </a:ext>
            </a:extLst>
          </p:cNvPr>
          <p:cNvSpPr/>
          <p:nvPr userDrawn="1"/>
        </p:nvSpPr>
        <p:spPr>
          <a:xfrm>
            <a:off x="6982292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2" name="Rounded Rectangle 35">
            <a:extLst>
              <a:ext uri="{FF2B5EF4-FFF2-40B4-BE49-F238E27FC236}">
                <a16:creationId xmlns:a16="http://schemas.microsoft.com/office/drawing/2014/main" id="{907CA40D-68F3-4A54-8B29-938B83398647}"/>
              </a:ext>
            </a:extLst>
          </p:cNvPr>
          <p:cNvSpPr/>
          <p:nvPr userDrawn="1"/>
        </p:nvSpPr>
        <p:spPr>
          <a:xfrm>
            <a:off x="16996086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268851E4-9E0C-49AB-9665-C13A2FCD0F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2883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C4C6C9EB-A4D7-4DF2-BB22-AD0EADAC0344}"/>
              </a:ext>
            </a:extLst>
          </p:cNvPr>
          <p:cNvSpPr/>
          <p:nvPr userDrawn="1"/>
        </p:nvSpPr>
        <p:spPr>
          <a:xfrm>
            <a:off x="10197792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8E14E2EB-13BF-4916-B8E1-7C498AE76014}"/>
              </a:ext>
            </a:extLst>
          </p:cNvPr>
          <p:cNvSpPr/>
          <p:nvPr userDrawn="1"/>
        </p:nvSpPr>
        <p:spPr>
          <a:xfrm>
            <a:off x="10197792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47CBB8"/>
              </a:solidFill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FB6CE347-B5C0-4433-A3AF-B2AD5F0E3E10}"/>
              </a:ext>
            </a:extLst>
          </p:cNvPr>
          <p:cNvCxnSpPr/>
          <p:nvPr userDrawn="1"/>
        </p:nvCxnSpPr>
        <p:spPr>
          <a:xfrm>
            <a:off x="11630773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50">
            <a:extLst>
              <a:ext uri="{FF2B5EF4-FFF2-40B4-BE49-F238E27FC236}">
                <a16:creationId xmlns:a16="http://schemas.microsoft.com/office/drawing/2014/main" id="{76EDA78F-4847-46D5-994E-E4DADC5F11C8}"/>
              </a:ext>
            </a:extLst>
          </p:cNvPr>
          <p:cNvSpPr/>
          <p:nvPr userDrawn="1"/>
        </p:nvSpPr>
        <p:spPr>
          <a:xfrm>
            <a:off x="15466743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3" name="Rounded Rectangle 51">
            <a:extLst>
              <a:ext uri="{FF2B5EF4-FFF2-40B4-BE49-F238E27FC236}">
                <a16:creationId xmlns:a16="http://schemas.microsoft.com/office/drawing/2014/main" id="{49DE5037-A4C9-45D4-807A-982E5EE4675E}"/>
              </a:ext>
            </a:extLst>
          </p:cNvPr>
          <p:cNvSpPr/>
          <p:nvPr userDrawn="1"/>
        </p:nvSpPr>
        <p:spPr>
          <a:xfrm>
            <a:off x="15466743" y="10147542"/>
            <a:ext cx="4087368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16" name="Straight Connector 54">
            <a:extLst>
              <a:ext uri="{FF2B5EF4-FFF2-40B4-BE49-F238E27FC236}">
                <a16:creationId xmlns:a16="http://schemas.microsoft.com/office/drawing/2014/main" id="{45A1B128-5EB4-4758-985A-CE8A31E2CCA9}"/>
              </a:ext>
            </a:extLst>
          </p:cNvPr>
          <p:cNvCxnSpPr/>
          <p:nvPr userDrawn="1"/>
        </p:nvCxnSpPr>
        <p:spPr>
          <a:xfrm>
            <a:off x="16899722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57">
            <a:extLst>
              <a:ext uri="{FF2B5EF4-FFF2-40B4-BE49-F238E27FC236}">
                <a16:creationId xmlns:a16="http://schemas.microsoft.com/office/drawing/2014/main" id="{73AB7485-D6DD-4704-AEBF-848B18967039}"/>
              </a:ext>
            </a:extLst>
          </p:cNvPr>
          <p:cNvSpPr/>
          <p:nvPr userDrawn="1"/>
        </p:nvSpPr>
        <p:spPr>
          <a:xfrm>
            <a:off x="5018049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20" name="Rounded Rectangle 58">
            <a:extLst>
              <a:ext uri="{FF2B5EF4-FFF2-40B4-BE49-F238E27FC236}">
                <a16:creationId xmlns:a16="http://schemas.microsoft.com/office/drawing/2014/main" id="{BD333349-E69A-45BD-8516-30D574A7D4B3}"/>
              </a:ext>
            </a:extLst>
          </p:cNvPr>
          <p:cNvSpPr/>
          <p:nvPr userDrawn="1"/>
        </p:nvSpPr>
        <p:spPr>
          <a:xfrm>
            <a:off x="5018049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23" name="Straight Connector 67">
            <a:extLst>
              <a:ext uri="{FF2B5EF4-FFF2-40B4-BE49-F238E27FC236}">
                <a16:creationId xmlns:a16="http://schemas.microsoft.com/office/drawing/2014/main" id="{FE5920EF-51F2-4340-A4CF-89CFED512393}"/>
              </a:ext>
            </a:extLst>
          </p:cNvPr>
          <p:cNvCxnSpPr/>
          <p:nvPr userDrawn="1"/>
        </p:nvCxnSpPr>
        <p:spPr>
          <a:xfrm>
            <a:off x="6451028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8" name="Textplatzhalter 19">
            <a:extLst>
              <a:ext uri="{FF2B5EF4-FFF2-40B4-BE49-F238E27FC236}">
                <a16:creationId xmlns:a16="http://schemas.microsoft.com/office/drawing/2014/main" id="{E16B9F78-A23C-439C-913F-F79BA1F212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45118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DA1B6A1C-9FEA-4DBE-80BD-E4BBD978EF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515271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BA853EBE-810B-48C8-9E00-A0DBD7AF2F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798384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FAE15918-EF3A-4BE1-BA3F-9AD4C440DB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3576" y="8454668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2" name="Textplatzhalter 24">
            <a:extLst>
              <a:ext uri="{FF2B5EF4-FFF2-40B4-BE49-F238E27FC236}">
                <a16:creationId xmlns:a16="http://schemas.microsoft.com/office/drawing/2014/main" id="{F7718C0A-9B6F-4F65-A5BE-4D65CCD860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8301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3" name="Textplatzhalter 24">
            <a:extLst>
              <a:ext uri="{FF2B5EF4-FFF2-40B4-BE49-F238E27FC236}">
                <a16:creationId xmlns:a16="http://schemas.microsoft.com/office/drawing/2014/main" id="{FC172EA8-596A-4A5C-9BF8-0C278BF7A3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459916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D6EA57D4-C65E-4D98-9002-71592D69B4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70624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5" name="Textplatzhalter 19">
            <a:extLst>
              <a:ext uri="{FF2B5EF4-FFF2-40B4-BE49-F238E27FC236}">
                <a16:creationId xmlns:a16="http://schemas.microsoft.com/office/drawing/2014/main" id="{D8A47DFE-D5BC-470F-A401-98372943F1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60465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6" name="Textplatzhalter 19">
            <a:extLst>
              <a:ext uri="{FF2B5EF4-FFF2-40B4-BE49-F238E27FC236}">
                <a16:creationId xmlns:a16="http://schemas.microsoft.com/office/drawing/2014/main" id="{4115FD9A-B6EE-4C33-9C30-4DC26D6CD4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900137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4F68FFD1-5AAB-481A-830C-274E9044F6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82354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D690EF62-E3B3-4E3D-B493-2100DF4263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582323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9" name="Textplatzhalter 19">
            <a:extLst>
              <a:ext uri="{FF2B5EF4-FFF2-40B4-BE49-F238E27FC236}">
                <a16:creationId xmlns:a16="http://schemas.microsoft.com/office/drawing/2014/main" id="{33867146-7B9A-4738-812E-51083F5F4B6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865436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7D38925-2B12-4A12-ACF4-3069C4CE0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85401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2" name="Rectangle 42">
            <a:extLst>
              <a:ext uri="{FF2B5EF4-FFF2-40B4-BE49-F238E27FC236}">
                <a16:creationId xmlns:a16="http://schemas.microsoft.com/office/drawing/2014/main" id="{94603779-496A-47A6-89EA-7BBBF4763C33}"/>
              </a:ext>
            </a:extLst>
          </p:cNvPr>
          <p:cNvSpPr/>
          <p:nvPr userDrawn="1"/>
        </p:nvSpPr>
        <p:spPr>
          <a:xfrm>
            <a:off x="14884382" y="3693661"/>
            <a:ext cx="5094000" cy="6707110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3" name="Rectangle 43">
            <a:extLst>
              <a:ext uri="{FF2B5EF4-FFF2-40B4-BE49-F238E27FC236}">
                <a16:creationId xmlns:a16="http://schemas.microsoft.com/office/drawing/2014/main" id="{89831C0D-1229-42D1-99FB-F699DF41505C}"/>
              </a:ext>
            </a:extLst>
          </p:cNvPr>
          <p:cNvSpPr/>
          <p:nvPr userDrawn="1"/>
        </p:nvSpPr>
        <p:spPr>
          <a:xfrm>
            <a:off x="9658982" y="4339992"/>
            <a:ext cx="5094000" cy="6060779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EC7FDB9-6919-4250-BE06-2CB336D6BB9B}"/>
              </a:ext>
            </a:extLst>
          </p:cNvPr>
          <p:cNvSpPr/>
          <p:nvPr userDrawn="1"/>
        </p:nvSpPr>
        <p:spPr>
          <a:xfrm>
            <a:off x="4433582" y="4998634"/>
            <a:ext cx="5094000" cy="2596600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8" name="TextBox 45">
            <a:extLst>
              <a:ext uri="{FF2B5EF4-FFF2-40B4-BE49-F238E27FC236}">
                <a16:creationId xmlns:a16="http://schemas.microsoft.com/office/drawing/2014/main" id="{945C94F5-6A19-4434-BF8B-9CA9D3115634}"/>
              </a:ext>
            </a:extLst>
          </p:cNvPr>
          <p:cNvSpPr txBox="1"/>
          <p:nvPr userDrawn="1"/>
        </p:nvSpPr>
        <p:spPr>
          <a:xfrm>
            <a:off x="4433582" y="4998633"/>
            <a:ext cx="5094000" cy="646331"/>
          </a:xfrm>
          <a:prstGeom prst="rect">
            <a:avLst/>
          </a:prstGeom>
          <a:solidFill>
            <a:schemeClr val="bg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endParaRPr lang="uk-UA" sz="3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ectangle 54">
            <a:extLst>
              <a:ext uri="{FF2B5EF4-FFF2-40B4-BE49-F238E27FC236}">
                <a16:creationId xmlns:a16="http://schemas.microsoft.com/office/drawing/2014/main" id="{13669852-B8EC-4EBD-A1D0-A18B1258E6AF}"/>
              </a:ext>
            </a:extLst>
          </p:cNvPr>
          <p:cNvSpPr/>
          <p:nvPr userDrawn="1"/>
        </p:nvSpPr>
        <p:spPr>
          <a:xfrm>
            <a:off x="9658982" y="4339993"/>
            <a:ext cx="5094000" cy="3265247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3" name="Rectangle 70">
            <a:extLst>
              <a:ext uri="{FF2B5EF4-FFF2-40B4-BE49-F238E27FC236}">
                <a16:creationId xmlns:a16="http://schemas.microsoft.com/office/drawing/2014/main" id="{0E94B624-A537-403B-9856-5E19F5B35D8D}"/>
              </a:ext>
            </a:extLst>
          </p:cNvPr>
          <p:cNvSpPr/>
          <p:nvPr userDrawn="1"/>
        </p:nvSpPr>
        <p:spPr>
          <a:xfrm>
            <a:off x="14884382" y="3693661"/>
            <a:ext cx="5094000" cy="3900416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80" name="Textplatzhalter 19">
            <a:extLst>
              <a:ext uri="{FF2B5EF4-FFF2-40B4-BE49-F238E27FC236}">
                <a16:creationId xmlns:a16="http://schemas.microsoft.com/office/drawing/2014/main" id="{C171A0BC-3A42-4565-9934-5916EA2C7B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3577" y="4998738"/>
            <a:ext cx="5094002" cy="653823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81" name="Textplatzhalter 19">
            <a:extLst>
              <a:ext uri="{FF2B5EF4-FFF2-40B4-BE49-F238E27FC236}">
                <a16:creationId xmlns:a16="http://schemas.microsoft.com/office/drawing/2014/main" id="{0D7F5005-9084-4293-9881-298B3F01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448" y="4344810"/>
            <a:ext cx="5111534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82" name="Textplatzhalter 19">
            <a:extLst>
              <a:ext uri="{FF2B5EF4-FFF2-40B4-BE49-F238E27FC236}">
                <a16:creationId xmlns:a16="http://schemas.microsoft.com/office/drawing/2014/main" id="{56EF6831-AB11-42F3-96CE-ED15A29C5D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901920" y="3712516"/>
            <a:ext cx="5076462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83" name="Textplatzhalter 19">
            <a:extLst>
              <a:ext uri="{FF2B5EF4-FFF2-40B4-BE49-F238E27FC236}">
                <a16:creationId xmlns:a16="http://schemas.microsoft.com/office/drawing/2014/main" id="{08628B28-3CF6-4A84-B396-B23405DFF1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339" y="10400771"/>
            <a:ext cx="5094000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4" name="Textplatzhalter 19">
            <a:extLst>
              <a:ext uri="{FF2B5EF4-FFF2-40B4-BE49-F238E27FC236}">
                <a16:creationId xmlns:a16="http://schemas.microsoft.com/office/drawing/2014/main" id="{49C253EF-467A-4FC7-AD7E-B92B5FC66C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50445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5" name="Textplatzhalter 19">
            <a:extLst>
              <a:ext uri="{FF2B5EF4-FFF2-40B4-BE49-F238E27FC236}">
                <a16:creationId xmlns:a16="http://schemas.microsoft.com/office/drawing/2014/main" id="{0ADEAC8F-3E98-4E43-A26E-B24186C6981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881138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6" name="Textplatzhalter 24">
            <a:extLst>
              <a:ext uri="{FF2B5EF4-FFF2-40B4-BE49-F238E27FC236}">
                <a16:creationId xmlns:a16="http://schemas.microsoft.com/office/drawing/2014/main" id="{6C32D30E-EF69-43CE-8E57-70EB113809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76518" y="7737048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88" name="Textplatzhalter 24">
            <a:extLst>
              <a:ext uri="{FF2B5EF4-FFF2-40B4-BE49-F238E27FC236}">
                <a16:creationId xmlns:a16="http://schemas.microsoft.com/office/drawing/2014/main" id="{08388944-382E-4BF1-A7AC-DBB992FACD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51111" y="7594077"/>
            <a:ext cx="5076464" cy="2819615"/>
          </a:xfrm>
          <a:solidFill>
            <a:srgbClr val="47CBB8"/>
          </a:solidFill>
          <a:ln>
            <a:solidFill>
              <a:srgbClr val="47CBB8"/>
            </a:solidFill>
          </a:ln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0" name="Textplatzhalter 24">
            <a:extLst>
              <a:ext uri="{FF2B5EF4-FFF2-40B4-BE49-F238E27FC236}">
                <a16:creationId xmlns:a16="http://schemas.microsoft.com/office/drawing/2014/main" id="{1B7C995C-8C60-49D4-AB9A-4424FE4855A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879088" y="7594077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1" name="Textplatzhalter 19">
            <a:extLst>
              <a:ext uri="{FF2B5EF4-FFF2-40B4-BE49-F238E27FC236}">
                <a16:creationId xmlns:a16="http://schemas.microsoft.com/office/drawing/2014/main" id="{B13B625D-9006-4D75-AFEB-08445C84C4E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91829" y="6102321"/>
            <a:ext cx="2995028" cy="964714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2" name="Textplatzhalter 19">
            <a:extLst>
              <a:ext uri="{FF2B5EF4-FFF2-40B4-BE49-F238E27FC236}">
                <a16:creationId xmlns:a16="http://schemas.microsoft.com/office/drawing/2014/main" id="{50D185B2-20F0-4013-8D27-B5DF33945E9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239487" y="5606447"/>
            <a:ext cx="3932988" cy="1266836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8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3" name="Textplatzhalter 19">
            <a:extLst>
              <a:ext uri="{FF2B5EF4-FFF2-40B4-BE49-F238E27FC236}">
                <a16:creationId xmlns:a16="http://schemas.microsoft.com/office/drawing/2014/main" id="{911D12BD-D89E-4DB4-BBC2-4C98A8A7D9B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087057" y="5103121"/>
            <a:ext cx="4660526" cy="1501180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AFD18D33-3787-484E-BF9D-93D2C714EB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210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bg>
      <p:bgPr>
        <a:solidFill>
          <a:srgbClr val="FFD58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2693957-91C1-C145-B3F3-B65FA651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4" name="Rectangle 28">
            <a:extLst>
              <a:ext uri="{FF2B5EF4-FFF2-40B4-BE49-F238E27FC236}">
                <a16:creationId xmlns:a16="http://schemas.microsoft.com/office/drawing/2014/main" id="{C7DFFD6D-D89C-2742-ABAF-6961E6C0D8F1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B43C65"/>
          </a:solidFill>
          <a:ln>
            <a:solidFill>
              <a:srgbClr val="B43C6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8591A29-1B55-8F4B-9BC2-3BF1FD2CF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9F8442A-93C0-DD4A-B8DC-44D45A172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</p:spTree>
    <p:extLst>
      <p:ext uri="{BB962C8B-B14F-4D97-AF65-F5344CB8AC3E}">
        <p14:creationId xmlns:p14="http://schemas.microsoft.com/office/powerpoint/2010/main" val="9568827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2768E365-6B57-4D0E-9BE6-435DF2C2B6F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-16549"/>
            <a:ext cx="24377649" cy="6444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A4350E3D-8A7D-4F83-94E0-6CB8C2068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6103" y="4496792"/>
            <a:ext cx="15079248" cy="2662267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73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BED10D7-5582-4F04-9F95-C08C41364C3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61968" y="8043195"/>
            <a:ext cx="10134294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1E319ABE-A8AA-441A-85DB-96496EDBF8F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163012" y="8043195"/>
            <a:ext cx="11189246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AEBD3F3-CE81-42FA-9B81-A243B755A53D}"/>
              </a:ext>
            </a:extLst>
          </p:cNvPr>
          <p:cNvSpPr/>
          <p:nvPr userDrawn="1"/>
        </p:nvSpPr>
        <p:spPr>
          <a:xfrm>
            <a:off x="20788604" y="12546013"/>
            <a:ext cx="2780523" cy="7781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5FAAC9-D5BA-4D0A-A53B-4DEA28758A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0866176" y="12584771"/>
            <a:ext cx="2486081" cy="519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04334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BBAD31-64C9-4410-ABA9-7E4C3EEF66F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9818" y="-30751"/>
            <a:ext cx="24387469" cy="13746751"/>
          </a:xfrm>
          <a:prstGeom prst="rect">
            <a:avLst/>
          </a:prstGeom>
          <a:gradFill>
            <a:gsLst>
              <a:gs pos="0">
                <a:srgbClr val="BFBFBF"/>
              </a:gs>
              <a:gs pos="88000">
                <a:srgbClr val="E7E7E7"/>
              </a:gs>
            </a:gsLst>
            <a:lin ang="3720000" scaled="0"/>
          </a:gra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" panose="020B0504020202020204" pitchFamily="34" charset="0"/>
                <a:ea typeface="Arial Nova" panose="020B05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DEED4C2-242B-46BE-8B87-7665BDD76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2188" y="4549676"/>
            <a:ext cx="22393275" cy="4616648"/>
          </a:xfrm>
        </p:spPr>
        <p:txBody>
          <a:bodyPr lIns="0" anchor="b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000" b="0">
                <a:solidFill>
                  <a:schemeClr val="bg1"/>
                </a:solidFill>
                <a:latin typeface="Mont AS Heavy" panose="00000900000000000000" pitchFamily="2" charset="0"/>
              </a:defRPr>
            </a:lvl1pPr>
          </a:lstStyle>
          <a:p>
            <a:r>
              <a:rPr lang="de-DE"/>
              <a:t>TITEL </a:t>
            </a:r>
            <a:br>
              <a:rPr lang="de-DE"/>
            </a:br>
            <a:r>
              <a:rPr lang="de-DE"/>
              <a:t>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FEF0DB6-FBE2-42ED-B0C6-F29E65FEFB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25978" y="9286558"/>
            <a:ext cx="2503891" cy="430887"/>
          </a:xfrm>
        </p:spPr>
        <p:txBody>
          <a:bodyPr wrap="none" lIns="0" tIns="0" rIns="0" bIns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 Light" panose="00000300000000000000" pitchFamily="2" charset="0"/>
                <a:cs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HEADLINE </a:t>
            </a:r>
          </a:p>
        </p:txBody>
      </p:sp>
      <p:grpSp>
        <p:nvGrpSpPr>
          <p:cNvPr id="13" name="Group 13">
            <a:extLst>
              <a:ext uri="{FF2B5EF4-FFF2-40B4-BE49-F238E27FC236}">
                <a16:creationId xmlns:a16="http://schemas.microsoft.com/office/drawing/2014/main" id="{EF275B64-8555-41CB-B962-A226E45060EB}"/>
              </a:ext>
            </a:extLst>
          </p:cNvPr>
          <p:cNvGrpSpPr/>
          <p:nvPr userDrawn="1"/>
        </p:nvGrpSpPr>
        <p:grpSpPr>
          <a:xfrm>
            <a:off x="7935195" y="3501483"/>
            <a:ext cx="8507260" cy="6713034"/>
            <a:chOff x="5950616" y="3256157"/>
            <a:chExt cx="12342605" cy="6713034"/>
          </a:xfrm>
        </p:grpSpPr>
        <p:cxnSp>
          <p:nvCxnSpPr>
            <p:cNvPr id="15" name="Straight Connector 30">
              <a:extLst>
                <a:ext uri="{FF2B5EF4-FFF2-40B4-BE49-F238E27FC236}">
                  <a16:creationId xmlns:a16="http://schemas.microsoft.com/office/drawing/2014/main" id="{D643ABFA-6DED-47D4-A56B-1ED521C0D2B1}"/>
                </a:ext>
              </a:extLst>
            </p:cNvPr>
            <p:cNvCxnSpPr/>
            <p:nvPr/>
          </p:nvCxnSpPr>
          <p:spPr>
            <a:xfrm>
              <a:off x="5950616" y="3256157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3">
              <a:extLst>
                <a:ext uri="{FF2B5EF4-FFF2-40B4-BE49-F238E27FC236}">
                  <a16:creationId xmlns:a16="http://schemas.microsoft.com/office/drawing/2014/main" id="{BE7EEA7F-AA55-4ECE-BB25-7AD133176265}"/>
                </a:ext>
              </a:extLst>
            </p:cNvPr>
            <p:cNvCxnSpPr/>
            <p:nvPr/>
          </p:nvCxnSpPr>
          <p:spPr>
            <a:xfrm>
              <a:off x="5950616" y="9969191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552885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46F06DC-7F7C-8441-8326-168E3B9679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5" name="Rectangle 28">
            <a:extLst>
              <a:ext uri="{FF2B5EF4-FFF2-40B4-BE49-F238E27FC236}">
                <a16:creationId xmlns:a16="http://schemas.microsoft.com/office/drawing/2014/main" id="{90DAC45E-3078-4F98-BB11-D2688DF5E9AD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0F38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AE43AE4-5FC8-4B53-A4DC-48F2DA53B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4379F26-5842-430D-A750-A3B1F2D1ED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696EEC-A12A-4D93-A12C-CDD8ED373C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268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bg>
      <p:bgPr>
        <a:solidFill>
          <a:srgbClr val="0F0F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8">
            <a:extLst>
              <a:ext uri="{FF2B5EF4-FFF2-40B4-BE49-F238E27FC236}">
                <a16:creationId xmlns:a16="http://schemas.microsoft.com/office/drawing/2014/main" id="{C7DFFD6D-D89C-2742-ABAF-6961E6C0D8F1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8591A29-1B55-8F4B-9BC2-3BF1FD2CF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9F8442A-93C0-DD4A-B8DC-44D45A172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" name="TextBox 9">
            <a:extLst>
              <a:ext uri="{FF2B5EF4-FFF2-40B4-BE49-F238E27FC236}">
                <a16:creationId xmlns:a16="http://schemas.microsoft.com/office/drawing/2014/main" id="{55D3B4AA-41DC-4742-07F3-E35DCE65EA4C}"/>
              </a:ext>
            </a:extLst>
          </p:cNvPr>
          <p:cNvSpPr txBox="1"/>
          <p:nvPr userDrawn="1"/>
        </p:nvSpPr>
        <p:spPr>
          <a:xfrm>
            <a:off x="607402" y="12847723"/>
            <a:ext cx="581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260E2A6B-A809-4840-BF14-8648BC0BDF87}" type="slidenum">
              <a:rPr lang="id-ID" sz="1800" b="0" i="0" smtClean="0">
                <a:solidFill>
                  <a:schemeClr val="bg1">
                    <a:lumMod val="75000"/>
                  </a:schemeClr>
                </a:solidFill>
                <a:latin typeface="Mont AS Light" panose="00000300000000000000" pitchFamily="2" charset="0"/>
                <a:ea typeface="Poppins Light" charset="0"/>
                <a:cs typeface="Poppins Light" charset="0"/>
              </a:rPr>
              <a:pPr algn="l"/>
              <a:t>‹Nr.›</a:t>
            </a:fld>
            <a:r>
              <a:rPr lang="id-ID" sz="1800" b="0" i="0">
                <a:solidFill>
                  <a:schemeClr val="tx1"/>
                </a:solidFill>
                <a:latin typeface="Arial Nova Light" panose="020B0304020202020204" pitchFamily="34" charset="0"/>
                <a:ea typeface="Poppins Light" charset="0"/>
                <a:cs typeface="Poppins Light" charset="0"/>
              </a:rPr>
              <a:t>  </a:t>
            </a:r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4748343E-859A-D583-6891-F22975397E0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14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 | 1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4797" y="3646296"/>
            <a:ext cx="22315742" cy="503590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45659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7E378-1210-4821-A731-B5E8E14A45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92525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69">
          <p15:clr>
            <a:srgbClr val="FBAE40"/>
          </p15:clr>
        </p15:guide>
        <p15:guide id="2" orient="horz" pos="5772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er |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3ED517-449D-4CA4-9CFC-E2C1A45DB1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78982"/>
            <a:ext cx="22323424" cy="454493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9F4E9BF-BD8C-4F99-8DDD-8534585F4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4946BF5F-9358-452A-83A9-B2F2780F3D0A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38A85CD7-4671-4064-B320-E432A79A47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27112" y="3625850"/>
            <a:ext cx="10846105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493CEE17-EA1D-4A73-A9BC-DC404129CA0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537240" y="3625851"/>
            <a:ext cx="10813298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4EAFD8E-828F-4E73-8BE1-1AC82E36AB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11848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00EF3A8-BE74-4121-814A-D3DA572BC1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107B1A83-7BBA-440F-8A93-941A5C7C3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815799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982D6819-8B0E-4903-A3FC-05F221A32C3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48195" y="0"/>
            <a:ext cx="812586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82881FC5-89E0-4273-8AC0-D47510ECB7C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6274058" y="0"/>
            <a:ext cx="8131056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318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64677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>
            <a:cxnSpLocks/>
          </p:cNvCxnSpPr>
          <p:nvPr userDrawn="1"/>
        </p:nvCxnSpPr>
        <p:spPr>
          <a:xfrm>
            <a:off x="1168949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66472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51831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>
            <a:cxnSpLocks/>
          </p:cNvCxnSpPr>
          <p:nvPr userDrawn="1"/>
        </p:nvCxnSpPr>
        <p:spPr>
          <a:xfrm>
            <a:off x="1981795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8125883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6251766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22774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0073" y="8003757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>
            <a:cxnSpLocks/>
          </p:cNvCxnSpPr>
          <p:nvPr userDrawn="1"/>
        </p:nvCxnSpPr>
        <p:spPr>
          <a:xfrm>
            <a:off x="3547550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0147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3D69372-0892-4978-BE16-E9E68F0739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522B1025-ADB7-40B4-8E70-21AD09508D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1F1E0E8F-FF76-4F53-86C9-62E4C962CD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2735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947C8DAE-84BB-46B4-9E34-A605A6A9528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221528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813DC8BC-2B62-4422-AAF9-2C2BD67C41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27839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extplatzhalter 27">
            <a:extLst>
              <a:ext uri="{FF2B5EF4-FFF2-40B4-BE49-F238E27FC236}">
                <a16:creationId xmlns:a16="http://schemas.microsoft.com/office/drawing/2014/main" id="{93E3262C-1D79-4F25-ABFE-E572807E8B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833548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26A51AAD-E589-4D14-8524-FDFDF289EA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685543" y="8444906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FF3EE6-EA78-45C8-AEC3-8A7B1CC63E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720996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6" name="Textplatzhalter 22">
            <a:extLst>
              <a:ext uri="{FF2B5EF4-FFF2-40B4-BE49-F238E27FC236}">
                <a16:creationId xmlns:a16="http://schemas.microsoft.com/office/drawing/2014/main" id="{4F72614A-EB84-4862-8E7A-1B3C8DD71F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574594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37" name="Straight Connector 27">
            <a:extLst>
              <a:ext uri="{FF2B5EF4-FFF2-40B4-BE49-F238E27FC236}">
                <a16:creationId xmlns:a16="http://schemas.microsoft.com/office/drawing/2014/main" id="{8C5C9BB7-68A7-4463-80EF-6EB61C94FF67}"/>
              </a:ext>
            </a:extLst>
          </p:cNvPr>
          <p:cNvCxnSpPr>
            <a:cxnSpLocks/>
          </p:cNvCxnSpPr>
          <p:nvPr userDrawn="1"/>
        </p:nvCxnSpPr>
        <p:spPr>
          <a:xfrm>
            <a:off x="8633220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1B69D6B1-490A-4209-95E9-29442290A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08444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9" name="Textplatzhalter 22">
            <a:extLst>
              <a:ext uri="{FF2B5EF4-FFF2-40B4-BE49-F238E27FC236}">
                <a16:creationId xmlns:a16="http://schemas.microsoft.com/office/drawing/2014/main" id="{E144E038-0B44-423B-87CF-6B9B2DF3FC2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2042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23569A19-2BB2-45F9-AE9A-F6AFDE8350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95892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8BBCC6FA-7491-4F97-A7A1-83C563FC9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03191" y="8444906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42" name="Straight Connector 3">
            <a:extLst>
              <a:ext uri="{FF2B5EF4-FFF2-40B4-BE49-F238E27FC236}">
                <a16:creationId xmlns:a16="http://schemas.microsoft.com/office/drawing/2014/main" id="{453DC737-CBCD-4F1F-ACF0-B7DBE166244C}"/>
              </a:ext>
            </a:extLst>
          </p:cNvPr>
          <p:cNvCxnSpPr>
            <a:cxnSpLocks/>
          </p:cNvCxnSpPr>
          <p:nvPr userDrawn="1"/>
        </p:nvCxnSpPr>
        <p:spPr>
          <a:xfrm>
            <a:off x="14745772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5">
            <a:extLst>
              <a:ext uri="{FF2B5EF4-FFF2-40B4-BE49-F238E27FC236}">
                <a16:creationId xmlns:a16="http://schemas.microsoft.com/office/drawing/2014/main" id="{142378C7-5759-41BF-B21B-03336D70E196}"/>
              </a:ext>
            </a:extLst>
          </p:cNvPr>
          <p:cNvCxnSpPr>
            <a:cxnSpLocks/>
          </p:cNvCxnSpPr>
          <p:nvPr userDrawn="1"/>
        </p:nvCxnSpPr>
        <p:spPr>
          <a:xfrm>
            <a:off x="20858324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6">
            <a:extLst>
              <a:ext uri="{FF2B5EF4-FFF2-40B4-BE49-F238E27FC236}">
                <a16:creationId xmlns:a16="http://schemas.microsoft.com/office/drawing/2014/main" id="{FED05350-83D2-40EA-BD2D-8B85FD3F0164}"/>
              </a:ext>
            </a:extLst>
          </p:cNvPr>
          <p:cNvCxnSpPr>
            <a:cxnSpLocks/>
          </p:cNvCxnSpPr>
          <p:nvPr userDrawn="1"/>
        </p:nvCxnSpPr>
        <p:spPr>
          <a:xfrm>
            <a:off x="2520668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6094412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2188825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68D1937-C5A5-45D4-8331-31AE9382F1D4}"/>
              </a:ext>
            </a:extLst>
          </p:cNvPr>
          <p:cNvCxnSpPr>
            <a:cxnSpLocks/>
          </p:cNvCxnSpPr>
          <p:nvPr userDrawn="1"/>
        </p:nvCxnSpPr>
        <p:spPr>
          <a:xfrm>
            <a:off x="18283238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5209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, Bild mit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3F31ED55-C513-4249-A759-0819E532FD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8" y="3350166"/>
            <a:ext cx="24387469" cy="6560821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27">
            <a:extLst>
              <a:ext uri="{FF2B5EF4-FFF2-40B4-BE49-F238E27FC236}">
                <a16:creationId xmlns:a16="http://schemas.microsoft.com/office/drawing/2014/main" id="{89A3D45A-DE78-43B3-94AD-88B9D69573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643520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CA1B6A73-04C2-41B7-BD3A-BB8175045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495515" y="5983059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245033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098631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/>
          <p:nvPr userDrawn="1"/>
        </p:nvCxnSpPr>
        <p:spPr>
          <a:xfrm>
            <a:off x="9089960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5184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8782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9142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6441" y="5983059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54C6AC9-07D3-453A-836E-148AADE5A7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59597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8DFDD560-938A-4B2F-B705-59538F48ED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7113" y="10633073"/>
            <a:ext cx="22323425" cy="50359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 BOX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D75FB9EA-D27C-42EB-8BE4-DBF039B36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cxnSp>
        <p:nvCxnSpPr>
          <p:cNvPr id="22" name="Straight Connector 86">
            <a:extLst>
              <a:ext uri="{FF2B5EF4-FFF2-40B4-BE49-F238E27FC236}">
                <a16:creationId xmlns:a16="http://schemas.microsoft.com/office/drawing/2014/main" id="{49D3A1DD-3F7A-4D4D-B660-F26E518BDC6E}"/>
              </a:ext>
            </a:extLst>
          </p:cNvPr>
          <p:cNvCxnSpPr/>
          <p:nvPr userDrawn="1"/>
        </p:nvCxnSpPr>
        <p:spPr>
          <a:xfrm flipH="1">
            <a:off x="12224343" y="4535047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7">
            <a:extLst>
              <a:ext uri="{FF2B5EF4-FFF2-40B4-BE49-F238E27FC236}">
                <a16:creationId xmlns:a16="http://schemas.microsoft.com/office/drawing/2014/main" id="{42DD4E2F-30B7-4B87-B798-E14E02B1D577}"/>
              </a:ext>
            </a:extLst>
          </p:cNvPr>
          <p:cNvCxnSpPr/>
          <p:nvPr userDrawn="1"/>
        </p:nvCxnSpPr>
        <p:spPr>
          <a:xfrm flipH="1">
            <a:off x="17494909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ABBF7E2B-3C50-4FC4-B695-FE3EBF1EE001}"/>
              </a:ext>
            </a:extLst>
          </p:cNvPr>
          <p:cNvCxnSpPr/>
          <p:nvPr userDrawn="1"/>
        </p:nvCxnSpPr>
        <p:spPr>
          <a:xfrm flipH="1">
            <a:off x="6950153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/>
          <p:nvPr userDrawn="1"/>
        </p:nvCxnSpPr>
        <p:spPr>
          <a:xfrm>
            <a:off x="14269809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C772ED7-FBC5-47C2-A10A-5CF53AFD9527}"/>
              </a:ext>
            </a:extLst>
          </p:cNvPr>
          <p:cNvCxnSpPr/>
          <p:nvPr userDrawn="1"/>
        </p:nvCxnSpPr>
        <p:spPr>
          <a:xfrm>
            <a:off x="19668296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/>
          <p:nvPr userDrawn="1"/>
        </p:nvCxnSpPr>
        <p:spPr>
          <a:xfrm>
            <a:off x="3723918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5">
            <a:extLst>
              <a:ext uri="{FF2B5EF4-FFF2-40B4-BE49-F238E27FC236}">
                <a16:creationId xmlns:a16="http://schemas.microsoft.com/office/drawing/2014/main" id="{5D4DB5ED-8E43-4E2D-AF54-35C4866921B8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28700878-959E-4242-8E26-C76B6A30D8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9139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1">
            <a:extLst>
              <a:ext uri="{FF2B5EF4-FFF2-40B4-BE49-F238E27FC236}">
                <a16:creationId xmlns:a16="http://schemas.microsoft.com/office/drawing/2014/main" id="{08C02DA8-42F5-4947-B0E0-0820396F4A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0A713350-6064-4EDD-A367-D323BC1547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2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439B6325-8D1F-4F84-9B1C-BB9D856506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4AAF6AA-B74C-48E7-A450-4E38B3D5A71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F916CFD0-BE43-4803-AB2B-9877C4F71D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2257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3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2A201979-2310-4CDF-A56A-0F12382C6F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7D0D36D-31AD-4F46-BAEE-470E87AEA9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22851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1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3" y="668076"/>
            <a:ext cx="22323425" cy="465399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C913647-E3FD-432F-907F-253AB0533FE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86766" y="9232020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F761D9D5-96D5-4C7B-8CDF-72B2E0762607}"/>
              </a:ext>
            </a:extLst>
          </p:cNvPr>
          <p:cNvCxnSpPr/>
          <p:nvPr userDrawn="1"/>
        </p:nvCxnSpPr>
        <p:spPr>
          <a:xfrm flipV="1">
            <a:off x="2994660" y="7629908"/>
            <a:ext cx="2138299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5">
            <a:extLst>
              <a:ext uri="{FF2B5EF4-FFF2-40B4-BE49-F238E27FC236}">
                <a16:creationId xmlns:a16="http://schemas.microsoft.com/office/drawing/2014/main" id="{866F4DE5-7C49-4753-B019-B0D14D9C4706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81">
            <a:extLst>
              <a:ext uri="{FF2B5EF4-FFF2-40B4-BE49-F238E27FC236}">
                <a16:creationId xmlns:a16="http://schemas.microsoft.com/office/drawing/2014/main" id="{B23119AE-0878-4CA4-9B20-7E375FC62E3C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8" name="Oval 91">
            <a:extLst>
              <a:ext uri="{FF2B5EF4-FFF2-40B4-BE49-F238E27FC236}">
                <a16:creationId xmlns:a16="http://schemas.microsoft.com/office/drawing/2014/main" id="{8DFC8E50-D1A8-407D-A580-113A40F1A139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A85F3A3-0646-4D9F-908E-4E539E6343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2055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 | 1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4797" y="3646296"/>
            <a:ext cx="22315742" cy="503590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45659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7E378-1210-4821-A731-B5E8E14A45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8961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69" userDrawn="1">
          <p15:clr>
            <a:srgbClr val="FBAE40"/>
          </p15:clr>
        </p15:guide>
        <p15:guide id="2" orient="horz" pos="5772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1">
            <a:extLst>
              <a:ext uri="{FF2B5EF4-FFF2-40B4-BE49-F238E27FC236}">
                <a16:creationId xmlns:a16="http://schemas.microsoft.com/office/drawing/2014/main" id="{B61035E5-F1F1-4706-A8A4-12C7068173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E17D344-FFD8-45D8-AC7E-69C6580AABE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5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17CB59D-F8C8-43FE-B1A8-5EDFE859D29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B42D41C5-3352-4FE3-8F7C-68A204E79C4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89AD8F79-1421-4A33-A31E-5D478472B6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86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6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D7AABF0-0063-4876-A1CA-BFB9DF7235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7D7595D0-8564-4EA9-B627-70E840438B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06DEFBC-211C-48F1-9FE3-B48CE0031C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303860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4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F0EA465-9DFB-4360-82E9-9A941EA6F3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1419" y="9232020"/>
            <a:ext cx="6098400" cy="1818063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BB9883B4-06C3-4808-8CDF-A72A272ABF3A}"/>
              </a:ext>
            </a:extLst>
          </p:cNvPr>
          <p:cNvCxnSpPr/>
          <p:nvPr userDrawn="1"/>
        </p:nvCxnSpPr>
        <p:spPr>
          <a:xfrm>
            <a:off x="0" y="7629908"/>
            <a:ext cx="2437765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5">
            <a:extLst>
              <a:ext uri="{FF2B5EF4-FFF2-40B4-BE49-F238E27FC236}">
                <a16:creationId xmlns:a16="http://schemas.microsoft.com/office/drawing/2014/main" id="{D44BD952-084E-4BFD-BB7D-7B2E2261526C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Oval 81">
            <a:extLst>
              <a:ext uri="{FF2B5EF4-FFF2-40B4-BE49-F238E27FC236}">
                <a16:creationId xmlns:a16="http://schemas.microsoft.com/office/drawing/2014/main" id="{0B7E8639-D113-4ACD-B817-6D09FC842BD5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91">
            <a:extLst>
              <a:ext uri="{FF2B5EF4-FFF2-40B4-BE49-F238E27FC236}">
                <a16:creationId xmlns:a16="http://schemas.microsoft.com/office/drawing/2014/main" id="{8517B031-8A18-4BD9-AC9E-290BB12097EC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DF31A0A8-89B2-45F6-BA51-F150A60CF1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1714075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DD46441-4D82-419F-BAC2-AD5BCA847A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6702634" y="7154346"/>
            <a:ext cx="2393950" cy="833178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4800" b="1">
                <a:solidFill>
                  <a:srgbClr val="47CBB8"/>
                </a:solidFill>
              </a:defRPr>
            </a:lvl1pPr>
          </a:lstStyle>
          <a:p>
            <a:pPr lvl="0"/>
            <a:r>
              <a:rPr lang="de-DE"/>
              <a:t>FINISH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DE9E9F3-0AF4-4D9C-9551-798488C223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34242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6D1C5F2-8A05-4F51-952A-3E8060EED3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34242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7AA452DD-0430-4CFF-87F2-D87BD1CA292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66301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203DDD43-97E7-469F-B1C9-5BA5C3F35F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67914" y="9217506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D3410C09-568C-4FE5-B8A8-15D8CF79A1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893668" y="8582726"/>
            <a:ext cx="1366376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8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1698D06-29AB-4F27-9877-C0FB91ACC7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4242" y="4750677"/>
            <a:ext cx="1289433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7</a:t>
            </a:r>
          </a:p>
        </p:txBody>
      </p:sp>
      <p:cxnSp>
        <p:nvCxnSpPr>
          <p:cNvPr id="11" name="Straight Connector 3">
            <a:extLst>
              <a:ext uri="{FF2B5EF4-FFF2-40B4-BE49-F238E27FC236}">
                <a16:creationId xmlns:a16="http://schemas.microsoft.com/office/drawing/2014/main" id="{E52D3028-7717-46ED-B83A-05790AE3071C}"/>
              </a:ext>
            </a:extLst>
          </p:cNvPr>
          <p:cNvCxnSpPr>
            <a:endCxn id="21" idx="2"/>
          </p:cNvCxnSpPr>
          <p:nvPr userDrawn="1"/>
        </p:nvCxnSpPr>
        <p:spPr>
          <a:xfrm>
            <a:off x="0" y="7629908"/>
            <a:ext cx="16031172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81">
            <a:extLst>
              <a:ext uri="{FF2B5EF4-FFF2-40B4-BE49-F238E27FC236}">
                <a16:creationId xmlns:a16="http://schemas.microsoft.com/office/drawing/2014/main" id="{0A1A2121-D3EB-415C-B084-0DFB136ECADC}"/>
              </a:ext>
            </a:extLst>
          </p:cNvPr>
          <p:cNvSpPr/>
          <p:nvPr userDrawn="1"/>
        </p:nvSpPr>
        <p:spPr>
          <a:xfrm>
            <a:off x="377293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Oval 91">
            <a:extLst>
              <a:ext uri="{FF2B5EF4-FFF2-40B4-BE49-F238E27FC236}">
                <a16:creationId xmlns:a16="http://schemas.microsoft.com/office/drawing/2014/main" id="{2534299D-9925-41C8-9551-DB28F238A42B}"/>
              </a:ext>
            </a:extLst>
          </p:cNvPr>
          <p:cNvSpPr/>
          <p:nvPr userDrawn="1"/>
        </p:nvSpPr>
        <p:spPr>
          <a:xfrm>
            <a:off x="1603117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345C7BDE-B611-41A4-8C44-8C161764191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A1C46FA8-CEE5-427D-AB6A-937B468C87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939375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5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ED1E2E8-9BBF-4EBE-8E18-4B3D6AE7B921}"/>
              </a:ext>
            </a:extLst>
          </p:cNvPr>
          <p:cNvCxnSpPr>
            <a:cxnSpLocks/>
          </p:cNvCxnSpPr>
          <p:nvPr userDrawn="1"/>
        </p:nvCxnSpPr>
        <p:spPr>
          <a:xfrm>
            <a:off x="3580371" y="7471584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2D28384-09DA-430B-B185-6B15590286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99667" y="7746398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F083210E-CE38-4862-8EDF-07BE0FD5E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43889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D1D31A5-961C-40E2-834F-A53E0FFEB1B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30376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EE6C1841-2C5E-41FF-AD7F-996404346B3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16864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8" name="Textplatzhalter 22">
            <a:extLst>
              <a:ext uri="{FF2B5EF4-FFF2-40B4-BE49-F238E27FC236}">
                <a16:creationId xmlns:a16="http://schemas.microsoft.com/office/drawing/2014/main" id="{045786C9-5300-4A08-8010-68938B84587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603351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18948A4A-7DD7-41F6-8D8C-E3AECC62983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8898392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B6283B5-90CB-4352-9C41-A722FDBB51E3}"/>
              </a:ext>
            </a:extLst>
          </p:cNvPr>
          <p:cNvCxnSpPr>
            <a:cxnSpLocks/>
          </p:cNvCxnSpPr>
          <p:nvPr userDrawn="1"/>
        </p:nvCxnSpPr>
        <p:spPr>
          <a:xfrm>
            <a:off x="1675964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D64BBDD-9767-437A-97D0-0215998786E9}"/>
              </a:ext>
            </a:extLst>
          </p:cNvPr>
          <p:cNvCxnSpPr>
            <a:cxnSpLocks/>
          </p:cNvCxnSpPr>
          <p:nvPr userDrawn="1"/>
        </p:nvCxnSpPr>
        <p:spPr>
          <a:xfrm>
            <a:off x="20944338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54BABF11-9AA9-4F20-89C2-4FDB05E6B773}"/>
              </a:ext>
            </a:extLst>
          </p:cNvPr>
          <p:cNvSpPr/>
          <p:nvPr userDrawn="1"/>
        </p:nvSpPr>
        <p:spPr>
          <a:xfrm>
            <a:off x="499663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A4D906C-5229-4D40-AF66-12F4875C638E}"/>
              </a:ext>
            </a:extLst>
          </p:cNvPr>
          <p:cNvSpPr/>
          <p:nvPr userDrawn="1"/>
        </p:nvSpPr>
        <p:spPr>
          <a:xfrm>
            <a:off x="7850254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864AE5A3-95B6-4323-AFCA-97F1DF7295B4}"/>
              </a:ext>
            </a:extLst>
          </p:cNvPr>
          <p:cNvSpPr/>
          <p:nvPr userDrawn="1"/>
        </p:nvSpPr>
        <p:spPr>
          <a:xfrm>
            <a:off x="10703872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0708BFC9-5B20-48A7-9699-4CEF6132F3DC}"/>
              </a:ext>
            </a:extLst>
          </p:cNvPr>
          <p:cNvSpPr/>
          <p:nvPr userDrawn="1"/>
        </p:nvSpPr>
        <p:spPr>
          <a:xfrm>
            <a:off x="13557490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FE754801-25AA-4ED4-B6B8-2AD702E2C13C}"/>
              </a:ext>
            </a:extLst>
          </p:cNvPr>
          <p:cNvSpPr/>
          <p:nvPr userDrawn="1"/>
        </p:nvSpPr>
        <p:spPr>
          <a:xfrm>
            <a:off x="16411108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0071ABAF-90C8-423B-9F33-28F333BCBE97}"/>
              </a:ext>
            </a:extLst>
          </p:cNvPr>
          <p:cNvSpPr/>
          <p:nvPr userDrawn="1"/>
        </p:nvSpPr>
        <p:spPr>
          <a:xfrm>
            <a:off x="1926472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61903F0F-1332-4947-8668-A7EBB5D70E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498158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495AB2FD-F119-490E-9A67-CDCCA8A31A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08400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1</a:t>
            </a:r>
          </a:p>
        </p:txBody>
      </p: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5AC73FFE-7AA2-495E-8B02-0E3ED3AEC7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25604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2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451FC3E7-886F-43CF-983D-E416A9C688B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4243342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3</a:t>
            </a:r>
          </a:p>
        </p:txBody>
      </p:sp>
      <p:sp>
        <p:nvSpPr>
          <p:cNvPr id="33" name="Textplatzhalter 29">
            <a:extLst>
              <a:ext uri="{FF2B5EF4-FFF2-40B4-BE49-F238E27FC236}">
                <a16:creationId xmlns:a16="http://schemas.microsoft.com/office/drawing/2014/main" id="{B3B39D5E-4687-4608-91AE-4F2DD621A6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962212" y="9737621"/>
            <a:ext cx="1608138" cy="433068"/>
          </a:xfrm>
        </p:spPr>
        <p:txBody>
          <a:bodyPr lIns="90000" tIns="46800" rIns="90000" bIns="46800" anchor="ctr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4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448F9AC-13D4-4DC5-9538-0EE07CA2B8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03069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26" name="Textplatzhalter 24">
            <a:extLst>
              <a:ext uri="{FF2B5EF4-FFF2-40B4-BE49-F238E27FC236}">
                <a16:creationId xmlns:a16="http://schemas.microsoft.com/office/drawing/2014/main" id="{964FDC84-E9FE-4EF4-BB5C-9715196F5D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21374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4B380E17-BA99-492E-8F74-BFEB75C877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039111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7851D134-D36A-4701-8F51-4CCD14EDD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757982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6DCEE5D-1162-435C-8B9D-5CBBF77F4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55669" y="6303553"/>
            <a:ext cx="131027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EAEA98D-8206-4BF3-98F9-FBB0D8A74E5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076448" y="6303553"/>
            <a:ext cx="13808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3CDD9CFA-2FDB-43F2-B95B-59774707F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357812" y="6303553"/>
            <a:ext cx="137920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FF431F93-0E2E-4BC9-A929-0D4F55F43A4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43045" y="6303553"/>
            <a:ext cx="137439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AFB270E0-6CD4-4176-BF94-19501833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6813601F-A6EE-43B6-815F-380FDC8D0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76DE45EE-1CB8-4DEB-A04B-92F28A12598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6932039-8106-4B5A-9F4D-1E9E30D121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381180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BA50F00-A376-4FEF-850C-72BCDB5B2C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60545" y="9637230"/>
            <a:ext cx="1380804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633517D7-5834-441A-A1BE-8C0838319C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877202" y="9637230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5998E42-052D-4A57-A761-C83AD24338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4874" y="9637230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9BE6F373-72B3-4CEA-B657-129359DEB9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55200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5BFE5BB5-A0EE-4137-BE18-1FB59EC0D0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66037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9" name="Textplatzhalter 24">
            <a:extLst>
              <a:ext uri="{FF2B5EF4-FFF2-40B4-BE49-F238E27FC236}">
                <a16:creationId xmlns:a16="http://schemas.microsoft.com/office/drawing/2014/main" id="{1F57B874-EF82-44AD-B39D-DA781E55EE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877526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AEA7E045-7959-475E-BBE7-07F759A751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55199" y="513444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1C1E501-93A8-4C38-B04C-D10ADE8DEB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60871" y="5134446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C5C0FF84-9728-4DAE-804C-62F2FD8645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77528" y="5134446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8" name="Textplatzhalter 24">
            <a:extLst>
              <a:ext uri="{FF2B5EF4-FFF2-40B4-BE49-F238E27FC236}">
                <a16:creationId xmlns:a16="http://schemas.microsoft.com/office/drawing/2014/main" id="{F2854146-6CE9-444F-952E-8243947A26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55526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6C294909-7B40-4B57-A9D1-EA96DB58C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66363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C239D4E2-2F95-4605-A144-2FCC9885492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6877852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A1E38BC3-2059-4D53-809E-40AA37A790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24E5D9F-2104-4727-9BAE-201B6F613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0" name="Rectangle 25">
            <a:extLst>
              <a:ext uri="{FF2B5EF4-FFF2-40B4-BE49-F238E27FC236}">
                <a16:creationId xmlns:a16="http://schemas.microsoft.com/office/drawing/2014/main" id="{91AA7CDC-40B9-4C07-A0BC-43AA4AE2C1E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8C18DD8D-D902-4F5A-8834-B8B81F51A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4562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char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6B698BE0-CB40-10B1-0411-537E15EB1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1463" y="3842911"/>
            <a:ext cx="10624998" cy="3300329"/>
          </a:xfrm>
        </p:spPr>
        <p:txBody>
          <a:bodyPr lIns="36000" tIns="36000" rIns="36000" bIns="3600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7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B43F34-628D-4E84-AF9E-1022C26135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5C6AE20E-5B7F-BAF5-34B2-3D54F11CE60D}"/>
              </a:ext>
            </a:extLst>
          </p:cNvPr>
          <p:cNvCxnSpPr/>
          <p:nvPr userDrawn="1"/>
        </p:nvCxnSpPr>
        <p:spPr>
          <a:xfrm flipV="1">
            <a:off x="1049224" y="7426041"/>
            <a:ext cx="6408000" cy="202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248887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>
            <a:extLst>
              <a:ext uri="{FF2B5EF4-FFF2-40B4-BE49-F238E27FC236}">
                <a16:creationId xmlns:a16="http://schemas.microsoft.com/office/drawing/2014/main" id="{AC61D604-EBD9-4111-952E-FEEC295BE7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15286" y="7798304"/>
            <a:ext cx="8939994" cy="3110724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C0062E5-9E1E-4C66-AFC1-842A08173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08509" y="2728013"/>
            <a:ext cx="9446771" cy="4073798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3000" b="0">
                <a:solidFill>
                  <a:srgbClr val="0F0F38"/>
                </a:solidFill>
              </a:defRPr>
            </a:lvl1pPr>
          </a:lstStyle>
          <a:p>
            <a:r>
              <a:rPr lang="de-DE"/>
              <a:t>TITEL BEARBEIT.</a:t>
            </a: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07A4B4DC-0B8A-466F-ACF0-A042125AD245}"/>
              </a:ext>
            </a:extLst>
          </p:cNvPr>
          <p:cNvCxnSpPr/>
          <p:nvPr userDrawn="1"/>
        </p:nvCxnSpPr>
        <p:spPr>
          <a:xfrm flipV="1">
            <a:off x="15953838" y="7123813"/>
            <a:ext cx="7401442" cy="429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EF95D2FD-F5C1-4944-A837-58361580A1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9433" cy="13716000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rgbClr val="0F0F38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973124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link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2D7A5210-FAAD-4518-93BE-7BDB9A827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036D12A6-8E12-44E8-92CB-38913EAC84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5F2DF93D-194D-4849-8F7C-D67C5A6FF571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AE4B65E7-95EE-F94B-882B-CA65814B17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963E023-929E-4278-8499-23C911587466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321992F-4276-478A-B8EC-831AFDB9EE4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106086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F0F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7C4A3D3-C08F-6E4C-9726-8E90E92E0DB9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A9DCE32F-82CE-434D-AB3F-D8D82DD409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gradFill>
                  <a:gsLst>
                    <a:gs pos="0">
                      <a:srgbClr val="EE7344"/>
                    </a:gs>
                    <a:gs pos="51000">
                      <a:srgbClr val="B43C65"/>
                    </a:gs>
                    <a:gs pos="100000">
                      <a:srgbClr val="A52080"/>
                    </a:gs>
                  </a:gsLst>
                  <a:lin ang="0" scaled="0"/>
                </a:gra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1655FB-A2BD-7E48-8061-E9D607379F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74A600D0-C015-944A-A986-5373CD1F003E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2BAFAFF-CDEA-7E40-890C-86F2C115A1F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9B1E222A-86C8-B942-8FD6-2335D719CA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6275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13">
            <a:extLst>
              <a:ext uri="{FF2B5EF4-FFF2-40B4-BE49-F238E27FC236}">
                <a16:creationId xmlns:a16="http://schemas.microsoft.com/office/drawing/2014/main" id="{D4F9432A-087F-41FA-9E6E-D518236A277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49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3EC33B3-B8E7-4363-9E01-F1968924BA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7756" y="2197945"/>
            <a:ext cx="6368905" cy="3046988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8" name="Textplatzhalter 18">
            <a:extLst>
              <a:ext uri="{FF2B5EF4-FFF2-40B4-BE49-F238E27FC236}">
                <a16:creationId xmlns:a16="http://schemas.microsoft.com/office/drawing/2014/main" id="{0FF27343-2CE3-4A5D-89C1-1A2EA26AF0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82402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9" name="Textplatzhalter 18">
            <a:extLst>
              <a:ext uri="{FF2B5EF4-FFF2-40B4-BE49-F238E27FC236}">
                <a16:creationId xmlns:a16="http://schemas.microsoft.com/office/drawing/2014/main" id="{6E93C50F-EC16-46A8-91AF-B11C6D2987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11863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00A6FB-D52A-4504-BB75-90F8DA0EE0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253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er |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3ED517-449D-4CA4-9CFC-E2C1A45DB1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78982"/>
            <a:ext cx="22323424" cy="454493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9F4E9BF-BD8C-4F99-8DDD-8534585F4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4946BF5F-9358-452A-83A9-B2F2780F3D0A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38A85CD7-4671-4064-B320-E432A79A47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27112" y="3625850"/>
            <a:ext cx="10846105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493CEE17-EA1D-4A73-A9BC-DC404129CA0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537240" y="3625851"/>
            <a:ext cx="10813298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4EAFD8E-828F-4E73-8BE1-1AC82E36AB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7791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5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3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A6BF5741-6663-4F91-8E54-81F9B0BAAF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AE1A291-718B-4AC5-9BC6-D3486CFD44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309611"/>
      </p:ext>
    </p:extLst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4F8960D8-14F1-4F50-8557-A9422A912C4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7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5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086E1399-4716-403C-93EF-39C460CE0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F088D9A9-9D5E-405A-9A16-2C8B7DF085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68B54CD5-0DA4-4ED2-BE7A-5A488843FE7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43D7E8B8-53E7-4D9F-9A7F-99E3E3E7DE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663377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D31D793F-024F-4B33-86F2-7A4C8F986A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4970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A495461A-EA81-472C-9981-7D5B1DBDE1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444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1EFAE153-9C1C-4261-BF45-0C1926065F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0307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89E4C361-97FA-47A1-AB64-65A5D6B2E0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422153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60269E40-A90C-45DE-B619-F9BD7156BC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6"/>
            <a:ext cx="22323423" cy="475323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5CA03EAB-381A-49F9-9936-C6F5C43B8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58A15B00-0176-4E3B-9F6E-8E966E7C3D82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0130162-2C9B-4DC8-AE4E-86FBF1E8C6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63144" y="9160411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172B992F-D625-4F32-8E8C-A34D23CBF8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295815" y="9160411"/>
            <a:ext cx="15411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 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F7766EAE-0C88-4010-9A75-983923D46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30188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6E6B05D2-862C-47A0-93F1-DAE16974BD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1767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2030F7C6-1972-425B-B760-2553897884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749859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17F7E2AF-52DD-41A0-AFE4-228BD974CC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546770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BC9E9C5-744C-4F79-A6E1-417575DDD9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10691745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29A9C71E-7500-43ED-99B8-335EC43C3B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DEDA218-0FD2-4BD7-BBF9-3D7E94763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707A7660-E980-4A64-9931-1B039EA6B6F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EF00ABB4-254B-47C9-8E39-86097309483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62536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1</a:t>
            </a:r>
          </a:p>
        </p:txBody>
      </p:sp>
      <p:sp>
        <p:nvSpPr>
          <p:cNvPr id="26" name="Textplatzhalter 29">
            <a:extLst>
              <a:ext uri="{FF2B5EF4-FFF2-40B4-BE49-F238E27FC236}">
                <a16:creationId xmlns:a16="http://schemas.microsoft.com/office/drawing/2014/main" id="{BBAEBD02-E291-4A83-85BA-C3F87EB44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406527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2</a:t>
            </a:r>
          </a:p>
        </p:txBody>
      </p:sp>
      <p:sp>
        <p:nvSpPr>
          <p:cNvPr id="27" name="Textplatzhalter 29">
            <a:extLst>
              <a:ext uri="{FF2B5EF4-FFF2-40B4-BE49-F238E27FC236}">
                <a16:creationId xmlns:a16="http://schemas.microsoft.com/office/drawing/2014/main" id="{2A3CF59D-ECA1-4CB1-9975-65F2AC74BE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913418" y="7444382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3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1A13466-2447-4EF9-BDB1-BF5C6DB826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10855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4C89757E-0123-459A-87B5-84874218F6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654846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1DB4F51-216D-43E2-88AD-B137B5758D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161737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7F429CD0-C915-4842-A119-0F175849B0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185352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Bilderfol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329A1FEA-36C0-46B1-A22C-79CA84A3F8EF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7839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A93CD340-C9FF-4C60-BD2D-B1972C60F9BC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780575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5A16C52C-DCF4-420A-976B-DFADB8F0DC9C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2853831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EDECC6E0-90E0-44CC-A77A-93DF8BE0B8F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78517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DAF7022D-FFA6-4019-B683-5B2307DCE5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3028472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9B232F7E-D583-4FBE-9633-DD2B8C82BB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9754" y="9499947"/>
            <a:ext cx="218871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2537C1CB-98F7-4F9D-BB74-CBEAAEC262A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31919" y="10142690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89CAA96B-0E24-4766-A948-4DF28B18B8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71502" y="9501331"/>
            <a:ext cx="2267265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6AE252FA-D13C-47B9-994B-F16C5596BC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52941" y="10144074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1C1120E4-6248-4946-9F83-E555527B00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616224" y="9504992"/>
            <a:ext cx="227207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E41F3E3-E61C-4819-95D9-CE5C026CFC6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600067" y="10147735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215806F9-EFB7-462A-8234-A97BB4A78B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36445" y="9506376"/>
            <a:ext cx="2273677" cy="586957"/>
          </a:xfrm>
        </p:spPr>
        <p:txBody>
          <a:bodyPr wrap="none" lIns="90000" tIns="46800" rIns="90000" bIns="46800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61C55E8B-B9F1-41E1-A1FB-C5057172E0D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621089" y="10149119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7" name="AutoShape 35">
            <a:extLst>
              <a:ext uri="{FF2B5EF4-FFF2-40B4-BE49-F238E27FC236}">
                <a16:creationId xmlns:a16="http://schemas.microsoft.com/office/drawing/2014/main" id="{8E3D4E20-46AB-4D94-BB8D-99EDD5506671}"/>
              </a:ext>
            </a:extLst>
          </p:cNvPr>
          <p:cNvSpPr>
            <a:spLocks/>
          </p:cNvSpPr>
          <p:nvPr userDrawn="1"/>
        </p:nvSpPr>
        <p:spPr bwMode="auto">
          <a:xfrm>
            <a:off x="6096244" y="5980112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8" name="AutoShape 38">
            <a:extLst>
              <a:ext uri="{FF2B5EF4-FFF2-40B4-BE49-F238E27FC236}">
                <a16:creationId xmlns:a16="http://schemas.microsoft.com/office/drawing/2014/main" id="{2B02D462-BAB1-453F-9FB1-4B376C3DF387}"/>
              </a:ext>
            </a:extLst>
          </p:cNvPr>
          <p:cNvSpPr>
            <a:spLocks/>
          </p:cNvSpPr>
          <p:nvPr userDrawn="1"/>
        </p:nvSpPr>
        <p:spPr bwMode="auto">
          <a:xfrm>
            <a:off x="11130482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9" name="Freeform 2">
            <a:extLst>
              <a:ext uri="{FF2B5EF4-FFF2-40B4-BE49-F238E27FC236}">
                <a16:creationId xmlns:a16="http://schemas.microsoft.com/office/drawing/2014/main" id="{66069817-3316-4D6F-BFC8-36E271EF4E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825465" y="6587800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0" name="Freeform 2">
            <a:extLst>
              <a:ext uri="{FF2B5EF4-FFF2-40B4-BE49-F238E27FC236}">
                <a16:creationId xmlns:a16="http://schemas.microsoft.com/office/drawing/2014/main" id="{6A2D9E9A-6420-44FA-BA91-3007FE3193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00023" y="658779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AutoShape 41">
            <a:extLst>
              <a:ext uri="{FF2B5EF4-FFF2-40B4-BE49-F238E27FC236}">
                <a16:creationId xmlns:a16="http://schemas.microsoft.com/office/drawing/2014/main" id="{99D64F8F-66EC-4992-A347-2DFE7C3231EB}"/>
              </a:ext>
            </a:extLst>
          </p:cNvPr>
          <p:cNvSpPr>
            <a:spLocks/>
          </p:cNvSpPr>
          <p:nvPr userDrawn="1"/>
        </p:nvSpPr>
        <p:spPr bwMode="auto">
          <a:xfrm>
            <a:off x="16164721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22" name="Freeform 2">
            <a:extLst>
              <a:ext uri="{FF2B5EF4-FFF2-40B4-BE49-F238E27FC236}">
                <a16:creationId xmlns:a16="http://schemas.microsoft.com/office/drawing/2014/main" id="{B8D3C213-731D-4C35-87F2-BD04BADDA4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856733" y="661007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7A12FBD9-F953-4453-9D0D-65E0CFB6D5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BB49A98-3BD2-4D8C-9E24-912F92AA1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09A21FF-F0F7-4221-95E3-99D782CBD39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5C16AF4-AC3F-434D-9EA0-6A458055C6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99762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5333DED6-CB63-471E-8C86-4E96728003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6003" y="2202007"/>
            <a:ext cx="9589783" cy="463846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6453E6D-8988-47DC-B00A-2FEC1C41D7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221631" y="8436896"/>
            <a:ext cx="7137188" cy="463846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2FE039D4-8715-412B-AD77-17C91AD73C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96939" y="7786202"/>
            <a:ext cx="6449675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28F5826C-FA98-43C4-A556-515AB0BED83C}"/>
              </a:ext>
            </a:extLst>
          </p:cNvPr>
          <p:cNvSpPr/>
          <p:nvPr userDrawn="1"/>
        </p:nvSpPr>
        <p:spPr>
          <a:xfrm>
            <a:off x="9869716" y="2906181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6F2613D5-2F37-4386-A890-3E6393EE1E04}"/>
              </a:ext>
            </a:extLst>
          </p:cNvPr>
          <p:cNvSpPr/>
          <p:nvPr userDrawn="1"/>
        </p:nvSpPr>
        <p:spPr>
          <a:xfrm>
            <a:off x="13446129" y="9147149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97569666-3A88-4808-B6EC-E45330DD8F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0713" y="1547416"/>
            <a:ext cx="6435073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D3C9B893-5569-4D6A-BC65-3D279B3746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6337" y="3568389"/>
            <a:ext cx="8489449" cy="1796252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17" name="Textplatzhalter 24">
            <a:extLst>
              <a:ext uri="{FF2B5EF4-FFF2-40B4-BE49-F238E27FC236}">
                <a16:creationId xmlns:a16="http://schemas.microsoft.com/office/drawing/2014/main" id="{B272E55B-8249-436D-B961-1CC6D68FE6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221631" y="9809355"/>
            <a:ext cx="8489449" cy="1796252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33BF56E-38E6-445F-B6B7-3E601EDEC10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6860715"/>
            <a:ext cx="12252907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E442BC2-8D14-485F-B313-A5FD8EBA5FD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2252908" y="0"/>
            <a:ext cx="12124741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3031824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platzhalter 24">
            <a:extLst>
              <a:ext uri="{FF2B5EF4-FFF2-40B4-BE49-F238E27FC236}">
                <a16:creationId xmlns:a16="http://schemas.microsoft.com/office/drawing/2014/main" id="{3AB3174B-4E02-4C2D-9BE6-9850661B19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53532" y="4258527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EE485F5-5EE9-4652-AE8D-8E10130DB7EA}"/>
              </a:ext>
            </a:extLst>
          </p:cNvPr>
          <p:cNvSpPr/>
          <p:nvPr userDrawn="1"/>
        </p:nvSpPr>
        <p:spPr>
          <a:xfrm>
            <a:off x="12468978" y="8091640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9" name="Rectangle 62">
            <a:extLst>
              <a:ext uri="{FF2B5EF4-FFF2-40B4-BE49-F238E27FC236}">
                <a16:creationId xmlns:a16="http://schemas.microsoft.com/office/drawing/2014/main" id="{E5D69472-5CAD-4E43-A925-02D0D4C07952}"/>
              </a:ext>
            </a:extLst>
          </p:cNvPr>
          <p:cNvSpPr/>
          <p:nvPr userDrawn="1"/>
        </p:nvSpPr>
        <p:spPr>
          <a:xfrm>
            <a:off x="12468976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66">
            <a:extLst>
              <a:ext uri="{FF2B5EF4-FFF2-40B4-BE49-F238E27FC236}">
                <a16:creationId xmlns:a16="http://schemas.microsoft.com/office/drawing/2014/main" id="{AA2CDCDC-23F4-4357-9EC9-12AAE0667B4F}"/>
              </a:ext>
            </a:extLst>
          </p:cNvPr>
          <p:cNvSpPr/>
          <p:nvPr userDrawn="1"/>
        </p:nvSpPr>
        <p:spPr>
          <a:xfrm>
            <a:off x="12468978" y="515705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5" name="Rectangle 70">
            <a:extLst>
              <a:ext uri="{FF2B5EF4-FFF2-40B4-BE49-F238E27FC236}">
                <a16:creationId xmlns:a16="http://schemas.microsoft.com/office/drawing/2014/main" id="{037AB560-D6FD-4618-A056-7ECA1394F2F5}"/>
              </a:ext>
            </a:extLst>
          </p:cNvPr>
          <p:cNvSpPr/>
          <p:nvPr userDrawn="1"/>
        </p:nvSpPr>
        <p:spPr>
          <a:xfrm>
            <a:off x="2410576" y="8091638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Rectangle 74">
            <a:extLst>
              <a:ext uri="{FF2B5EF4-FFF2-40B4-BE49-F238E27FC236}">
                <a16:creationId xmlns:a16="http://schemas.microsoft.com/office/drawing/2014/main" id="{D60BF983-271C-4906-A922-42CD77D25242}"/>
              </a:ext>
            </a:extLst>
          </p:cNvPr>
          <p:cNvSpPr/>
          <p:nvPr userDrawn="1"/>
        </p:nvSpPr>
        <p:spPr>
          <a:xfrm>
            <a:off x="2431841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Rectangle 78">
            <a:extLst>
              <a:ext uri="{FF2B5EF4-FFF2-40B4-BE49-F238E27FC236}">
                <a16:creationId xmlns:a16="http://schemas.microsoft.com/office/drawing/2014/main" id="{BD94000D-8E3C-4C70-BC31-DA68FA0EA4FB}"/>
              </a:ext>
            </a:extLst>
          </p:cNvPr>
          <p:cNvSpPr/>
          <p:nvPr userDrawn="1"/>
        </p:nvSpPr>
        <p:spPr>
          <a:xfrm>
            <a:off x="2431841" y="5157052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79">
            <a:extLst>
              <a:ext uri="{FF2B5EF4-FFF2-40B4-BE49-F238E27FC236}">
                <a16:creationId xmlns:a16="http://schemas.microsoft.com/office/drawing/2014/main" id="{44EB5F99-2771-4401-941E-A33044E71FAF}"/>
              </a:ext>
            </a:extLst>
          </p:cNvPr>
          <p:cNvSpPr/>
          <p:nvPr/>
        </p:nvSpPr>
        <p:spPr>
          <a:xfrm>
            <a:off x="2431841" y="5144453"/>
            <a:ext cx="6286859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F8628228-BB13-4A94-97BE-F93CC31CE19C}"/>
              </a:ext>
            </a:extLst>
          </p:cNvPr>
          <p:cNvSpPr/>
          <p:nvPr/>
        </p:nvSpPr>
        <p:spPr>
          <a:xfrm>
            <a:off x="12468975" y="5144453"/>
            <a:ext cx="4162998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9" name="Rectangle 71">
            <a:extLst>
              <a:ext uri="{FF2B5EF4-FFF2-40B4-BE49-F238E27FC236}">
                <a16:creationId xmlns:a16="http://schemas.microsoft.com/office/drawing/2014/main" id="{340A0113-B4CC-44DF-A2AF-6AF6DCBD335D}"/>
              </a:ext>
            </a:extLst>
          </p:cNvPr>
          <p:cNvSpPr/>
          <p:nvPr/>
        </p:nvSpPr>
        <p:spPr>
          <a:xfrm>
            <a:off x="2409538" y="8101344"/>
            <a:ext cx="8523442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75">
            <a:extLst>
              <a:ext uri="{FF2B5EF4-FFF2-40B4-BE49-F238E27FC236}">
                <a16:creationId xmlns:a16="http://schemas.microsoft.com/office/drawing/2014/main" id="{AC588129-B632-4FE9-8142-AD266CFA7679}"/>
              </a:ext>
            </a:extLst>
          </p:cNvPr>
          <p:cNvSpPr/>
          <p:nvPr/>
        </p:nvSpPr>
        <p:spPr>
          <a:xfrm>
            <a:off x="2431842" y="11049100"/>
            <a:ext cx="5585109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5" name="Rectangle 63">
            <a:extLst>
              <a:ext uri="{FF2B5EF4-FFF2-40B4-BE49-F238E27FC236}">
                <a16:creationId xmlns:a16="http://schemas.microsoft.com/office/drawing/2014/main" id="{3F5F0B02-267F-4355-9782-FE39ED4E5334}"/>
              </a:ext>
            </a:extLst>
          </p:cNvPr>
          <p:cNvSpPr/>
          <p:nvPr/>
        </p:nvSpPr>
        <p:spPr>
          <a:xfrm>
            <a:off x="12468976" y="11049100"/>
            <a:ext cx="5989146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8" name="Rectangle 59">
            <a:extLst>
              <a:ext uri="{FF2B5EF4-FFF2-40B4-BE49-F238E27FC236}">
                <a16:creationId xmlns:a16="http://schemas.microsoft.com/office/drawing/2014/main" id="{AD3685F1-63E8-464A-A42F-662770EFAFE1}"/>
              </a:ext>
            </a:extLst>
          </p:cNvPr>
          <p:cNvSpPr/>
          <p:nvPr/>
        </p:nvSpPr>
        <p:spPr>
          <a:xfrm>
            <a:off x="12468977" y="8101346"/>
            <a:ext cx="8583491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AEF81924-BD2E-4B79-AB16-FDA00EF9A9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3E8A280A-027B-4DD1-BB3D-F56AF56C3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42" name="Rectangle 19">
            <a:extLst>
              <a:ext uri="{FF2B5EF4-FFF2-40B4-BE49-F238E27FC236}">
                <a16:creationId xmlns:a16="http://schemas.microsoft.com/office/drawing/2014/main" id="{1CC76B6A-DABC-46C1-A5BD-7C6C15F7C107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1A6EEDB6-2554-4945-B6E5-F59297AC3F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53532" y="3639867"/>
            <a:ext cx="1324699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45" name="Textplatzhalter 24">
            <a:extLst>
              <a:ext uri="{FF2B5EF4-FFF2-40B4-BE49-F238E27FC236}">
                <a16:creationId xmlns:a16="http://schemas.microsoft.com/office/drawing/2014/main" id="{0590DE02-8E2E-483F-B6BB-BB03DF9F35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8974" y="4266116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6" name="Textplatzhalter 19">
            <a:extLst>
              <a:ext uri="{FF2B5EF4-FFF2-40B4-BE49-F238E27FC236}">
                <a16:creationId xmlns:a16="http://schemas.microsoft.com/office/drawing/2014/main" id="{C21C74AF-E9C0-4C79-A3A3-91112E2BEF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468974" y="363917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47" name="Textplatzhalter 24">
            <a:extLst>
              <a:ext uri="{FF2B5EF4-FFF2-40B4-BE49-F238E27FC236}">
                <a16:creationId xmlns:a16="http://schemas.microsoft.com/office/drawing/2014/main" id="{3E9B20F6-0B05-49C9-AAB5-AE8C414AF6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53532" y="7210864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8" name="Textplatzhalter 19">
            <a:extLst>
              <a:ext uri="{FF2B5EF4-FFF2-40B4-BE49-F238E27FC236}">
                <a16:creationId xmlns:a16="http://schemas.microsoft.com/office/drawing/2014/main" id="{D8893120-8D44-42D1-B769-4E68D96216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53532" y="6592204"/>
            <a:ext cx="140805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64DFBECE-D359-4194-B370-E4B1910245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468974" y="7218453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0" name="Textplatzhalter 19">
            <a:extLst>
              <a:ext uri="{FF2B5EF4-FFF2-40B4-BE49-F238E27FC236}">
                <a16:creationId xmlns:a16="http://schemas.microsoft.com/office/drawing/2014/main" id="{11000CCE-DDA3-4460-8AF5-0BC07D6AA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468974" y="6591513"/>
            <a:ext cx="1409658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4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F0239194-0531-4FD9-8636-B2AAD97B60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353532" y="10095769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DDCFA497-25D6-45F9-B073-DFC73516048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53532" y="9477109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6A85BDAD-EB65-4FEE-8CB4-696F41C451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468974" y="10103358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4" name="Textplatzhalter 19">
            <a:extLst>
              <a:ext uri="{FF2B5EF4-FFF2-40B4-BE49-F238E27FC236}">
                <a16:creationId xmlns:a16="http://schemas.microsoft.com/office/drawing/2014/main" id="{9D273F7E-3337-4719-A49E-E86518350E9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468974" y="9476418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5" name="Textplatzhalter 19">
            <a:extLst>
              <a:ext uri="{FF2B5EF4-FFF2-40B4-BE49-F238E27FC236}">
                <a16:creationId xmlns:a16="http://schemas.microsoft.com/office/drawing/2014/main" id="{3338E026-5EA7-45C1-BAA4-F2EC4EEEFED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51583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6" name="Textplatzhalter 19">
            <a:extLst>
              <a:ext uri="{FF2B5EF4-FFF2-40B4-BE49-F238E27FC236}">
                <a16:creationId xmlns:a16="http://schemas.microsoft.com/office/drawing/2014/main" id="{AC422482-FC79-4B33-9572-C9478C1658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94077" y="8179812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7" name="Textplatzhalter 19">
            <a:extLst>
              <a:ext uri="{FF2B5EF4-FFF2-40B4-BE49-F238E27FC236}">
                <a16:creationId xmlns:a16="http://schemas.microsoft.com/office/drawing/2014/main" id="{26FD1855-9CCA-41CD-81E7-66891DFCB1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08002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8" name="Textplatzhalter 19">
            <a:extLst>
              <a:ext uri="{FF2B5EF4-FFF2-40B4-BE49-F238E27FC236}">
                <a16:creationId xmlns:a16="http://schemas.microsoft.com/office/drawing/2014/main" id="{0C3E86B7-4253-4787-AA8D-FE0548DBA3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463549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9" name="Textplatzhalter 19">
            <a:extLst>
              <a:ext uri="{FF2B5EF4-FFF2-40B4-BE49-F238E27FC236}">
                <a16:creationId xmlns:a16="http://schemas.microsoft.com/office/drawing/2014/main" id="{DA58BBFB-F196-4DF5-AD8F-046398C9F0A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13565" y="8158546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60" name="Textplatzhalter 19">
            <a:extLst>
              <a:ext uri="{FF2B5EF4-FFF2-40B4-BE49-F238E27FC236}">
                <a16:creationId xmlns:a16="http://schemas.microsoft.com/office/drawing/2014/main" id="{8479F256-02BA-46A7-BD67-EE2075F2E9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217921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4DB5864-B3C3-4222-8CD6-23600BCC90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8884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C917511-2E2D-47DF-AA50-A5B0A11D9284}"/>
              </a:ext>
            </a:extLst>
          </p:cNvPr>
          <p:cNvSpPr/>
          <p:nvPr userDrawn="1"/>
        </p:nvSpPr>
        <p:spPr>
          <a:xfrm>
            <a:off x="5446643" y="4558934"/>
            <a:ext cx="16899825" cy="6269213"/>
          </a:xfrm>
          <a:prstGeom prst="roundRect">
            <a:avLst>
              <a:gd name="adj" fmla="val 945"/>
            </a:avLst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760B71-930F-4B21-986D-D0BBDF258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DC15372-F63C-4B6D-ABA3-1B84F4899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50117"/>
            <a:ext cx="22323424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3ED6C008-CBFE-4B50-9956-8CDC0ACA1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03770" y="5525376"/>
            <a:ext cx="1938649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753AEE9E-9E72-4C70-8607-4662DBF215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68504" y="6925441"/>
            <a:ext cx="200918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0D024CD7-8AA1-4228-A9DD-A48EEC8C7A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66901" y="8325506"/>
            <a:ext cx="2012388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32" name="Textplatzhalter 19">
            <a:extLst>
              <a:ext uri="{FF2B5EF4-FFF2-40B4-BE49-F238E27FC236}">
                <a16:creationId xmlns:a16="http://schemas.microsoft.com/office/drawing/2014/main" id="{D5D599BA-76FD-4782-8B64-DB53B1FB31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66099" y="9725570"/>
            <a:ext cx="201399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F36839B7-167A-4A6B-A658-1BE09DFA4C35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98CF1DF0-8B9E-43D2-9436-A84FF0668629}"/>
              </a:ext>
            </a:extLst>
          </p:cNvPr>
          <p:cNvCxnSpPr>
            <a:cxnSpLocks/>
          </p:cNvCxnSpPr>
          <p:nvPr userDrawn="1"/>
        </p:nvCxnSpPr>
        <p:spPr>
          <a:xfrm>
            <a:off x="5130140" y="4284845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2">
            <a:extLst>
              <a:ext uri="{FF2B5EF4-FFF2-40B4-BE49-F238E27FC236}">
                <a16:creationId xmlns:a16="http://schemas.microsoft.com/office/drawing/2014/main" id="{33637400-A15E-4C56-8F72-BCFE6E8EEA6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49436" y="4042074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75DB4D8-3781-4155-B9C3-FF7EA894192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866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5CBAD0AB-2003-40D1-BD7B-EFD70D4A1EB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85353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2EB9CF26-2A0C-4C53-B523-ED04E8CD75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1841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90CA3548-5DF3-4C37-B3D2-EFEEE873902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58328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74490123-0D1D-43B2-A9CC-102804D785E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0448161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63770BD-B86E-48FB-AEF0-07CA0484F791}"/>
              </a:ext>
            </a:extLst>
          </p:cNvPr>
          <p:cNvCxnSpPr/>
          <p:nvPr userDrawn="1"/>
        </p:nvCxnSpPr>
        <p:spPr>
          <a:xfrm>
            <a:off x="5129561" y="578733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CA0C30A-AD35-43FF-B9AB-0183CAF4F0C8}"/>
              </a:ext>
            </a:extLst>
          </p:cNvPr>
          <p:cNvCxnSpPr/>
          <p:nvPr userDrawn="1"/>
        </p:nvCxnSpPr>
        <p:spPr>
          <a:xfrm>
            <a:off x="5129561" y="719206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523B0FB-2FED-4131-B610-165E83C76D4A}"/>
              </a:ext>
            </a:extLst>
          </p:cNvPr>
          <p:cNvCxnSpPr/>
          <p:nvPr userDrawn="1"/>
        </p:nvCxnSpPr>
        <p:spPr>
          <a:xfrm>
            <a:off x="5129561" y="8570288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54F8E-F988-4803-8765-37CB8133C8C2}"/>
              </a:ext>
            </a:extLst>
          </p:cNvPr>
          <p:cNvCxnSpPr/>
          <p:nvPr userDrawn="1"/>
        </p:nvCxnSpPr>
        <p:spPr>
          <a:xfrm>
            <a:off x="5129561" y="9988271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0A80A279-1B7B-4AC0-89F9-815B20A8E6D4}"/>
              </a:ext>
            </a:extLst>
          </p:cNvPr>
          <p:cNvSpPr/>
          <p:nvPr userDrawn="1"/>
        </p:nvSpPr>
        <p:spPr>
          <a:xfrm>
            <a:off x="5848115" y="55604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8" name="Rounded Rectangle 28">
            <a:extLst>
              <a:ext uri="{FF2B5EF4-FFF2-40B4-BE49-F238E27FC236}">
                <a16:creationId xmlns:a16="http://schemas.microsoft.com/office/drawing/2014/main" id="{1E5E6E15-DE77-441C-8B50-01203037AFAC}"/>
              </a:ext>
            </a:extLst>
          </p:cNvPr>
          <p:cNvSpPr/>
          <p:nvPr userDrawn="1"/>
        </p:nvSpPr>
        <p:spPr>
          <a:xfrm>
            <a:off x="11353571" y="6960541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3E6B12DA-1A39-4E5D-B4FA-1A75A4309EEF}"/>
              </a:ext>
            </a:extLst>
          </p:cNvPr>
          <p:cNvSpPr/>
          <p:nvPr userDrawn="1"/>
        </p:nvSpPr>
        <p:spPr>
          <a:xfrm>
            <a:off x="8699581" y="83356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B9B4D638-59D4-4671-8B9A-C96242FAB64E}"/>
              </a:ext>
            </a:extLst>
          </p:cNvPr>
          <p:cNvSpPr/>
          <p:nvPr userDrawn="1"/>
        </p:nvSpPr>
        <p:spPr>
          <a:xfrm>
            <a:off x="17040691" y="5605031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B29ED2FA-EC34-4A12-BE36-3947EA366246}"/>
              </a:ext>
            </a:extLst>
          </p:cNvPr>
          <p:cNvSpPr/>
          <p:nvPr userDrawn="1"/>
        </p:nvSpPr>
        <p:spPr>
          <a:xfrm>
            <a:off x="6982292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2" name="Rounded Rectangle 35">
            <a:extLst>
              <a:ext uri="{FF2B5EF4-FFF2-40B4-BE49-F238E27FC236}">
                <a16:creationId xmlns:a16="http://schemas.microsoft.com/office/drawing/2014/main" id="{907CA40D-68F3-4A54-8B29-938B83398647}"/>
              </a:ext>
            </a:extLst>
          </p:cNvPr>
          <p:cNvSpPr/>
          <p:nvPr userDrawn="1"/>
        </p:nvSpPr>
        <p:spPr>
          <a:xfrm>
            <a:off x="16996086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268851E4-9E0C-49AB-9665-C13A2FCD0F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70037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C4C6C9EB-A4D7-4DF2-BB22-AD0EADAC0344}"/>
              </a:ext>
            </a:extLst>
          </p:cNvPr>
          <p:cNvSpPr/>
          <p:nvPr userDrawn="1"/>
        </p:nvSpPr>
        <p:spPr>
          <a:xfrm>
            <a:off x="10197792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8E14E2EB-13BF-4916-B8E1-7C498AE76014}"/>
              </a:ext>
            </a:extLst>
          </p:cNvPr>
          <p:cNvSpPr/>
          <p:nvPr userDrawn="1"/>
        </p:nvSpPr>
        <p:spPr>
          <a:xfrm>
            <a:off x="10197792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47CBB8"/>
              </a:solidFill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FB6CE347-B5C0-4433-A3AF-B2AD5F0E3E10}"/>
              </a:ext>
            </a:extLst>
          </p:cNvPr>
          <p:cNvCxnSpPr/>
          <p:nvPr userDrawn="1"/>
        </p:nvCxnSpPr>
        <p:spPr>
          <a:xfrm>
            <a:off x="11630773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50">
            <a:extLst>
              <a:ext uri="{FF2B5EF4-FFF2-40B4-BE49-F238E27FC236}">
                <a16:creationId xmlns:a16="http://schemas.microsoft.com/office/drawing/2014/main" id="{76EDA78F-4847-46D5-994E-E4DADC5F11C8}"/>
              </a:ext>
            </a:extLst>
          </p:cNvPr>
          <p:cNvSpPr/>
          <p:nvPr userDrawn="1"/>
        </p:nvSpPr>
        <p:spPr>
          <a:xfrm>
            <a:off x="15466743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3" name="Rounded Rectangle 51">
            <a:extLst>
              <a:ext uri="{FF2B5EF4-FFF2-40B4-BE49-F238E27FC236}">
                <a16:creationId xmlns:a16="http://schemas.microsoft.com/office/drawing/2014/main" id="{49DE5037-A4C9-45D4-807A-982E5EE4675E}"/>
              </a:ext>
            </a:extLst>
          </p:cNvPr>
          <p:cNvSpPr/>
          <p:nvPr userDrawn="1"/>
        </p:nvSpPr>
        <p:spPr>
          <a:xfrm>
            <a:off x="15466743" y="10147542"/>
            <a:ext cx="4087368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16" name="Straight Connector 54">
            <a:extLst>
              <a:ext uri="{FF2B5EF4-FFF2-40B4-BE49-F238E27FC236}">
                <a16:creationId xmlns:a16="http://schemas.microsoft.com/office/drawing/2014/main" id="{45A1B128-5EB4-4758-985A-CE8A31E2CCA9}"/>
              </a:ext>
            </a:extLst>
          </p:cNvPr>
          <p:cNvCxnSpPr/>
          <p:nvPr userDrawn="1"/>
        </p:nvCxnSpPr>
        <p:spPr>
          <a:xfrm>
            <a:off x="16899722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57">
            <a:extLst>
              <a:ext uri="{FF2B5EF4-FFF2-40B4-BE49-F238E27FC236}">
                <a16:creationId xmlns:a16="http://schemas.microsoft.com/office/drawing/2014/main" id="{73AB7485-D6DD-4704-AEBF-848B18967039}"/>
              </a:ext>
            </a:extLst>
          </p:cNvPr>
          <p:cNvSpPr/>
          <p:nvPr userDrawn="1"/>
        </p:nvSpPr>
        <p:spPr>
          <a:xfrm>
            <a:off x="5018049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20" name="Rounded Rectangle 58">
            <a:extLst>
              <a:ext uri="{FF2B5EF4-FFF2-40B4-BE49-F238E27FC236}">
                <a16:creationId xmlns:a16="http://schemas.microsoft.com/office/drawing/2014/main" id="{BD333349-E69A-45BD-8516-30D574A7D4B3}"/>
              </a:ext>
            </a:extLst>
          </p:cNvPr>
          <p:cNvSpPr/>
          <p:nvPr userDrawn="1"/>
        </p:nvSpPr>
        <p:spPr>
          <a:xfrm>
            <a:off x="5018049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23" name="Straight Connector 67">
            <a:extLst>
              <a:ext uri="{FF2B5EF4-FFF2-40B4-BE49-F238E27FC236}">
                <a16:creationId xmlns:a16="http://schemas.microsoft.com/office/drawing/2014/main" id="{FE5920EF-51F2-4340-A4CF-89CFED512393}"/>
              </a:ext>
            </a:extLst>
          </p:cNvPr>
          <p:cNvCxnSpPr/>
          <p:nvPr userDrawn="1"/>
        </p:nvCxnSpPr>
        <p:spPr>
          <a:xfrm>
            <a:off x="6451028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8" name="Textplatzhalter 19">
            <a:extLst>
              <a:ext uri="{FF2B5EF4-FFF2-40B4-BE49-F238E27FC236}">
                <a16:creationId xmlns:a16="http://schemas.microsoft.com/office/drawing/2014/main" id="{E16B9F78-A23C-439C-913F-F79BA1F212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45118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DA1B6A1C-9FEA-4DBE-80BD-E4BBD978EF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515271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BA853EBE-810B-48C8-9E00-A0DBD7AF2F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798384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FAE15918-EF3A-4BE1-BA3F-9AD4C440DB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3576" y="8454668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2" name="Textplatzhalter 24">
            <a:extLst>
              <a:ext uri="{FF2B5EF4-FFF2-40B4-BE49-F238E27FC236}">
                <a16:creationId xmlns:a16="http://schemas.microsoft.com/office/drawing/2014/main" id="{F7718C0A-9B6F-4F65-A5BE-4D65CCD860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8301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3" name="Textplatzhalter 24">
            <a:extLst>
              <a:ext uri="{FF2B5EF4-FFF2-40B4-BE49-F238E27FC236}">
                <a16:creationId xmlns:a16="http://schemas.microsoft.com/office/drawing/2014/main" id="{FC172EA8-596A-4A5C-9BF8-0C278BF7A3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459916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D6EA57D4-C65E-4D98-9002-71592D69B4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70624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5" name="Textplatzhalter 19">
            <a:extLst>
              <a:ext uri="{FF2B5EF4-FFF2-40B4-BE49-F238E27FC236}">
                <a16:creationId xmlns:a16="http://schemas.microsoft.com/office/drawing/2014/main" id="{D8A47DFE-D5BC-470F-A401-98372943F1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60465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6" name="Textplatzhalter 19">
            <a:extLst>
              <a:ext uri="{FF2B5EF4-FFF2-40B4-BE49-F238E27FC236}">
                <a16:creationId xmlns:a16="http://schemas.microsoft.com/office/drawing/2014/main" id="{4115FD9A-B6EE-4C33-9C30-4DC26D6CD4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900137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4F68FFD1-5AAB-481A-830C-274E9044F6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82354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D690EF62-E3B3-4E3D-B493-2100DF4263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582323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9" name="Textplatzhalter 19">
            <a:extLst>
              <a:ext uri="{FF2B5EF4-FFF2-40B4-BE49-F238E27FC236}">
                <a16:creationId xmlns:a16="http://schemas.microsoft.com/office/drawing/2014/main" id="{33867146-7B9A-4738-812E-51083F5F4B6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865436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7D38925-2B12-4A12-ACF4-3069C4CE0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06479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2" name="Rectangle 42">
            <a:extLst>
              <a:ext uri="{FF2B5EF4-FFF2-40B4-BE49-F238E27FC236}">
                <a16:creationId xmlns:a16="http://schemas.microsoft.com/office/drawing/2014/main" id="{94603779-496A-47A6-89EA-7BBBF4763C33}"/>
              </a:ext>
            </a:extLst>
          </p:cNvPr>
          <p:cNvSpPr/>
          <p:nvPr userDrawn="1"/>
        </p:nvSpPr>
        <p:spPr>
          <a:xfrm>
            <a:off x="14884382" y="3693661"/>
            <a:ext cx="5094000" cy="6707110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3" name="Rectangle 43">
            <a:extLst>
              <a:ext uri="{FF2B5EF4-FFF2-40B4-BE49-F238E27FC236}">
                <a16:creationId xmlns:a16="http://schemas.microsoft.com/office/drawing/2014/main" id="{89831C0D-1229-42D1-99FB-F699DF41505C}"/>
              </a:ext>
            </a:extLst>
          </p:cNvPr>
          <p:cNvSpPr/>
          <p:nvPr userDrawn="1"/>
        </p:nvSpPr>
        <p:spPr>
          <a:xfrm>
            <a:off x="9658982" y="4339992"/>
            <a:ext cx="5094000" cy="6060779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EC7FDB9-6919-4250-BE06-2CB336D6BB9B}"/>
              </a:ext>
            </a:extLst>
          </p:cNvPr>
          <p:cNvSpPr/>
          <p:nvPr userDrawn="1"/>
        </p:nvSpPr>
        <p:spPr>
          <a:xfrm>
            <a:off x="4433582" y="4998634"/>
            <a:ext cx="5094000" cy="2596600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8" name="TextBox 45">
            <a:extLst>
              <a:ext uri="{FF2B5EF4-FFF2-40B4-BE49-F238E27FC236}">
                <a16:creationId xmlns:a16="http://schemas.microsoft.com/office/drawing/2014/main" id="{945C94F5-6A19-4434-BF8B-9CA9D3115634}"/>
              </a:ext>
            </a:extLst>
          </p:cNvPr>
          <p:cNvSpPr txBox="1"/>
          <p:nvPr userDrawn="1"/>
        </p:nvSpPr>
        <p:spPr>
          <a:xfrm>
            <a:off x="4433582" y="4998633"/>
            <a:ext cx="5094000" cy="646331"/>
          </a:xfrm>
          <a:prstGeom prst="rect">
            <a:avLst/>
          </a:prstGeom>
          <a:solidFill>
            <a:schemeClr val="bg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endParaRPr lang="uk-UA" sz="3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ectangle 54">
            <a:extLst>
              <a:ext uri="{FF2B5EF4-FFF2-40B4-BE49-F238E27FC236}">
                <a16:creationId xmlns:a16="http://schemas.microsoft.com/office/drawing/2014/main" id="{13669852-B8EC-4EBD-A1D0-A18B1258E6AF}"/>
              </a:ext>
            </a:extLst>
          </p:cNvPr>
          <p:cNvSpPr/>
          <p:nvPr userDrawn="1"/>
        </p:nvSpPr>
        <p:spPr>
          <a:xfrm>
            <a:off x="9658982" y="4339993"/>
            <a:ext cx="5094000" cy="3265247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3" name="Rectangle 70">
            <a:extLst>
              <a:ext uri="{FF2B5EF4-FFF2-40B4-BE49-F238E27FC236}">
                <a16:creationId xmlns:a16="http://schemas.microsoft.com/office/drawing/2014/main" id="{0E94B624-A537-403B-9856-5E19F5B35D8D}"/>
              </a:ext>
            </a:extLst>
          </p:cNvPr>
          <p:cNvSpPr/>
          <p:nvPr userDrawn="1"/>
        </p:nvSpPr>
        <p:spPr>
          <a:xfrm>
            <a:off x="14884382" y="3693661"/>
            <a:ext cx="5094000" cy="3900416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80" name="Textplatzhalter 19">
            <a:extLst>
              <a:ext uri="{FF2B5EF4-FFF2-40B4-BE49-F238E27FC236}">
                <a16:creationId xmlns:a16="http://schemas.microsoft.com/office/drawing/2014/main" id="{C171A0BC-3A42-4565-9934-5916EA2C7B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3577" y="4998738"/>
            <a:ext cx="5094002" cy="653823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81" name="Textplatzhalter 19">
            <a:extLst>
              <a:ext uri="{FF2B5EF4-FFF2-40B4-BE49-F238E27FC236}">
                <a16:creationId xmlns:a16="http://schemas.microsoft.com/office/drawing/2014/main" id="{0D7F5005-9084-4293-9881-298B3F01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448" y="4344810"/>
            <a:ext cx="5111534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82" name="Textplatzhalter 19">
            <a:extLst>
              <a:ext uri="{FF2B5EF4-FFF2-40B4-BE49-F238E27FC236}">
                <a16:creationId xmlns:a16="http://schemas.microsoft.com/office/drawing/2014/main" id="{56EF6831-AB11-42F3-96CE-ED15A29C5D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901920" y="3712516"/>
            <a:ext cx="5076462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83" name="Textplatzhalter 19">
            <a:extLst>
              <a:ext uri="{FF2B5EF4-FFF2-40B4-BE49-F238E27FC236}">
                <a16:creationId xmlns:a16="http://schemas.microsoft.com/office/drawing/2014/main" id="{08628B28-3CF6-4A84-B396-B23405DFF1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339" y="10400771"/>
            <a:ext cx="5094000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4" name="Textplatzhalter 19">
            <a:extLst>
              <a:ext uri="{FF2B5EF4-FFF2-40B4-BE49-F238E27FC236}">
                <a16:creationId xmlns:a16="http://schemas.microsoft.com/office/drawing/2014/main" id="{49C253EF-467A-4FC7-AD7E-B92B5FC66C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50445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5" name="Textplatzhalter 19">
            <a:extLst>
              <a:ext uri="{FF2B5EF4-FFF2-40B4-BE49-F238E27FC236}">
                <a16:creationId xmlns:a16="http://schemas.microsoft.com/office/drawing/2014/main" id="{0ADEAC8F-3E98-4E43-A26E-B24186C6981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881138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6" name="Textplatzhalter 24">
            <a:extLst>
              <a:ext uri="{FF2B5EF4-FFF2-40B4-BE49-F238E27FC236}">
                <a16:creationId xmlns:a16="http://schemas.microsoft.com/office/drawing/2014/main" id="{6C32D30E-EF69-43CE-8E57-70EB113809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76518" y="7737048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88" name="Textplatzhalter 24">
            <a:extLst>
              <a:ext uri="{FF2B5EF4-FFF2-40B4-BE49-F238E27FC236}">
                <a16:creationId xmlns:a16="http://schemas.microsoft.com/office/drawing/2014/main" id="{08388944-382E-4BF1-A7AC-DBB992FACD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51111" y="7594077"/>
            <a:ext cx="5076464" cy="2819615"/>
          </a:xfrm>
          <a:solidFill>
            <a:srgbClr val="47CBB8"/>
          </a:solidFill>
          <a:ln>
            <a:solidFill>
              <a:srgbClr val="47CBB8"/>
            </a:solidFill>
          </a:ln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0" name="Textplatzhalter 24">
            <a:extLst>
              <a:ext uri="{FF2B5EF4-FFF2-40B4-BE49-F238E27FC236}">
                <a16:creationId xmlns:a16="http://schemas.microsoft.com/office/drawing/2014/main" id="{1B7C995C-8C60-49D4-AB9A-4424FE4855A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879088" y="7594077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1" name="Textplatzhalter 19">
            <a:extLst>
              <a:ext uri="{FF2B5EF4-FFF2-40B4-BE49-F238E27FC236}">
                <a16:creationId xmlns:a16="http://schemas.microsoft.com/office/drawing/2014/main" id="{B13B625D-9006-4D75-AFEB-08445C84C4E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91829" y="6102321"/>
            <a:ext cx="2995028" cy="964714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2" name="Textplatzhalter 19">
            <a:extLst>
              <a:ext uri="{FF2B5EF4-FFF2-40B4-BE49-F238E27FC236}">
                <a16:creationId xmlns:a16="http://schemas.microsoft.com/office/drawing/2014/main" id="{50D185B2-20F0-4013-8D27-B5DF33945E9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239487" y="5606447"/>
            <a:ext cx="3932988" cy="1266836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8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3" name="Textplatzhalter 19">
            <a:extLst>
              <a:ext uri="{FF2B5EF4-FFF2-40B4-BE49-F238E27FC236}">
                <a16:creationId xmlns:a16="http://schemas.microsoft.com/office/drawing/2014/main" id="{911D12BD-D89E-4DB4-BBC2-4C98A8A7D9B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087057" y="5103121"/>
            <a:ext cx="4660526" cy="1501180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AFD18D33-3787-484E-BF9D-93D2C714EB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6912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00EF3A8-BE74-4121-814A-D3DA572BC1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107B1A83-7BBA-440F-8A93-941A5C7C3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815799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982D6819-8B0E-4903-A3FC-05F221A32C3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48195" y="0"/>
            <a:ext cx="812586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82881FC5-89E0-4273-8AC0-D47510ECB7C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6274058" y="0"/>
            <a:ext cx="8131056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318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64677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>
            <a:cxnSpLocks/>
          </p:cNvCxnSpPr>
          <p:nvPr userDrawn="1"/>
        </p:nvCxnSpPr>
        <p:spPr>
          <a:xfrm>
            <a:off x="1168949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66472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51831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>
            <a:cxnSpLocks/>
          </p:cNvCxnSpPr>
          <p:nvPr userDrawn="1"/>
        </p:nvCxnSpPr>
        <p:spPr>
          <a:xfrm>
            <a:off x="1981795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8125883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6251766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22774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0073" y="8003757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>
            <a:cxnSpLocks/>
          </p:cNvCxnSpPr>
          <p:nvPr userDrawn="1"/>
        </p:nvCxnSpPr>
        <p:spPr>
          <a:xfrm>
            <a:off x="3547550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174124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2768E365-6B57-4D0E-9BE6-435DF2C2B6F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-16549"/>
            <a:ext cx="24377649" cy="6444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A4350E3D-8A7D-4F83-94E0-6CB8C2068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6103" y="4496792"/>
            <a:ext cx="15079248" cy="2662267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73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BED10D7-5582-4F04-9F95-C08C41364C3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61968" y="8043195"/>
            <a:ext cx="10134294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1E319ABE-A8AA-441A-85DB-96496EDBF8F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163012" y="8043195"/>
            <a:ext cx="11189246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196590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58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46F06DC-7F7C-8441-8326-168E3B9679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5" name="Rectangle 28">
            <a:extLst>
              <a:ext uri="{FF2B5EF4-FFF2-40B4-BE49-F238E27FC236}">
                <a16:creationId xmlns:a16="http://schemas.microsoft.com/office/drawing/2014/main" id="{90DAC45E-3078-4F98-BB11-D2688DF5E9AD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0F38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AE43AE4-5FC8-4B53-A4DC-48F2DA53B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4379F26-5842-430D-A750-A3B1F2D1ED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696EEC-A12A-4D93-A12C-CDD8ED373C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1316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DBBAD31-64C9-4410-ABA9-7E4C3EEF66F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9818" y="-30751"/>
            <a:ext cx="24387469" cy="13746751"/>
          </a:xfrm>
          <a:prstGeom prst="rect">
            <a:avLst/>
          </a:prstGeom>
          <a:gradFill>
            <a:gsLst>
              <a:gs pos="0">
                <a:srgbClr val="BFBFBF"/>
              </a:gs>
              <a:gs pos="88000">
                <a:srgbClr val="E7E7E7"/>
              </a:gs>
            </a:gsLst>
            <a:lin ang="3720000" scaled="0"/>
          </a:gra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" panose="020B0504020202020204" pitchFamily="34" charset="0"/>
                <a:ea typeface="Arial Nova" panose="020B05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2DEED4C2-242B-46BE-8B87-7665BDD769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2188" y="4549676"/>
            <a:ext cx="22393275" cy="4616648"/>
          </a:xfrm>
        </p:spPr>
        <p:txBody>
          <a:bodyPr lIns="0" anchor="b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000" b="0">
                <a:solidFill>
                  <a:schemeClr val="bg1"/>
                </a:solidFill>
                <a:latin typeface="Mont AS Heavy" panose="00000900000000000000" pitchFamily="2" charset="0"/>
              </a:defRPr>
            </a:lvl1pPr>
          </a:lstStyle>
          <a:p>
            <a:r>
              <a:rPr lang="de-DE"/>
              <a:t>TITEL </a:t>
            </a:r>
            <a:br>
              <a:rPr lang="de-DE"/>
            </a:br>
            <a:r>
              <a:rPr lang="de-DE"/>
              <a:t>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FEF0DB6-FBE2-42ED-B0C6-F29E65FEFB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925978" y="9286558"/>
            <a:ext cx="2503891" cy="430887"/>
          </a:xfrm>
        </p:spPr>
        <p:txBody>
          <a:bodyPr wrap="none" lIns="0" tIns="0" rIns="0" bIns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 Light" panose="00000300000000000000" pitchFamily="2" charset="0"/>
                <a:cs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HEADLINE </a:t>
            </a:r>
          </a:p>
        </p:txBody>
      </p:sp>
      <p:grpSp>
        <p:nvGrpSpPr>
          <p:cNvPr id="13" name="Group 13">
            <a:extLst>
              <a:ext uri="{FF2B5EF4-FFF2-40B4-BE49-F238E27FC236}">
                <a16:creationId xmlns:a16="http://schemas.microsoft.com/office/drawing/2014/main" id="{EF275B64-8555-41CB-B962-A226E45060EB}"/>
              </a:ext>
            </a:extLst>
          </p:cNvPr>
          <p:cNvGrpSpPr/>
          <p:nvPr userDrawn="1"/>
        </p:nvGrpSpPr>
        <p:grpSpPr>
          <a:xfrm>
            <a:off x="7935195" y="3501483"/>
            <a:ext cx="8507260" cy="6713034"/>
            <a:chOff x="5950616" y="3256157"/>
            <a:chExt cx="12342605" cy="6713034"/>
          </a:xfrm>
        </p:grpSpPr>
        <p:cxnSp>
          <p:nvCxnSpPr>
            <p:cNvPr id="15" name="Straight Connector 30">
              <a:extLst>
                <a:ext uri="{FF2B5EF4-FFF2-40B4-BE49-F238E27FC236}">
                  <a16:creationId xmlns:a16="http://schemas.microsoft.com/office/drawing/2014/main" id="{D643ABFA-6DED-47D4-A56B-1ED521C0D2B1}"/>
                </a:ext>
              </a:extLst>
            </p:cNvPr>
            <p:cNvCxnSpPr/>
            <p:nvPr/>
          </p:nvCxnSpPr>
          <p:spPr>
            <a:xfrm>
              <a:off x="5950616" y="3256157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3">
              <a:extLst>
                <a:ext uri="{FF2B5EF4-FFF2-40B4-BE49-F238E27FC236}">
                  <a16:creationId xmlns:a16="http://schemas.microsoft.com/office/drawing/2014/main" id="{BE7EEA7F-AA55-4ECE-BB25-7AD133176265}"/>
                </a:ext>
              </a:extLst>
            </p:cNvPr>
            <p:cNvCxnSpPr/>
            <p:nvPr/>
          </p:nvCxnSpPr>
          <p:spPr>
            <a:xfrm>
              <a:off x="5950616" y="9969191"/>
              <a:ext cx="12342605" cy="0"/>
            </a:xfrm>
            <a:prstGeom prst="line">
              <a:avLst/>
            </a:prstGeom>
            <a:ln w="57150">
              <a:solidFill>
                <a:srgbClr val="47CBB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4736205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F46F06DC-7F7C-8441-8326-168E3B9679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5" name="Rectangle 28">
            <a:extLst>
              <a:ext uri="{FF2B5EF4-FFF2-40B4-BE49-F238E27FC236}">
                <a16:creationId xmlns:a16="http://schemas.microsoft.com/office/drawing/2014/main" id="{90DAC45E-3078-4F98-BB11-D2688DF5E9AD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F0F38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6AE43AE4-5FC8-4B53-A4DC-48F2DA53BC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14379F26-5842-430D-A750-A3B1F2D1ED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2D696EEC-A12A-4D93-A12C-CDD8ED373C0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5634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67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enutzerdefiniertes Layout">
    <p:bg>
      <p:bgPr>
        <a:solidFill>
          <a:srgbClr val="0F0F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62693957-91C1-C145-B3F3-B65FA65115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54988" b="76238"/>
          <a:stretch/>
        </p:blipFill>
        <p:spPr>
          <a:xfrm>
            <a:off x="5537" y="1"/>
            <a:ext cx="9942027" cy="2952180"/>
          </a:xfrm>
          <a:prstGeom prst="rect">
            <a:avLst/>
          </a:prstGeom>
        </p:spPr>
      </p:pic>
      <p:sp>
        <p:nvSpPr>
          <p:cNvPr id="4" name="Rectangle 28">
            <a:extLst>
              <a:ext uri="{FF2B5EF4-FFF2-40B4-BE49-F238E27FC236}">
                <a16:creationId xmlns:a16="http://schemas.microsoft.com/office/drawing/2014/main" id="{C7DFFD6D-D89C-2742-ABAF-6961E6C0D8F1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F8591A29-1B55-8F4B-9BC2-3BF1FD2CF1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05330"/>
            <a:ext cx="22323424" cy="959681"/>
          </a:xfrm>
        </p:spPr>
        <p:txBody>
          <a:bodyPr lIns="36000" tIns="36000" rIns="36000"/>
          <a:lstStyle>
            <a:lvl1pPr>
              <a:defRPr b="1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79F8442A-93C0-DD4A-B8DC-44D45A1722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27112" y="678982"/>
            <a:ext cx="22323425" cy="454493"/>
          </a:xfrm>
        </p:spPr>
        <p:txBody>
          <a:bodyPr lIns="36000" tIns="36000" rIns="36000" bIns="36000" anchor="ctr" anchorCtr="0">
            <a:noAutofit/>
          </a:bodyPr>
          <a:lstStyle>
            <a:lvl1pPr algn="ctr"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49D36032-A6DB-E546-8183-9974BE065C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0866176" y="12586014"/>
            <a:ext cx="2486081" cy="517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99809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 | 1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34797" y="3646296"/>
            <a:ext cx="22315742" cy="503590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45659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647E378-1210-4821-A731-B5E8E14A45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7234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pos="3369">
          <p15:clr>
            <a:srgbClr val="FBAE40"/>
          </p15:clr>
        </p15:guide>
        <p15:guide id="2" orient="horz" pos="5772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er |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3ED517-449D-4CA4-9CFC-E2C1A45DB1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78982"/>
            <a:ext cx="22323424" cy="454493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89F4E9BF-BD8C-4F99-8DDD-8534585F4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4946BF5F-9358-452A-83A9-B2F2780F3D0A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38A85CD7-4671-4064-B320-E432A79A473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027112" y="3625850"/>
            <a:ext cx="10846105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3" name="Textplatzhalter 24">
            <a:extLst>
              <a:ext uri="{FF2B5EF4-FFF2-40B4-BE49-F238E27FC236}">
                <a16:creationId xmlns:a16="http://schemas.microsoft.com/office/drawing/2014/main" id="{493CEE17-EA1D-4A73-A9BC-DC404129CA0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537240" y="3625851"/>
            <a:ext cx="10813298" cy="845343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24EAFD8E-828F-4E73-8BE1-1AC82E36AB6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93862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600EF3A8-BE74-4121-814A-D3DA572BC11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33" name="Picture Placeholder 13">
            <a:extLst>
              <a:ext uri="{FF2B5EF4-FFF2-40B4-BE49-F238E27FC236}">
                <a16:creationId xmlns:a16="http://schemas.microsoft.com/office/drawing/2014/main" id="{107B1A83-7BBA-440F-8A93-941A5C7C3AB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815799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Picture Placeholder 13">
            <a:extLst>
              <a:ext uri="{FF2B5EF4-FFF2-40B4-BE49-F238E27FC236}">
                <a16:creationId xmlns:a16="http://schemas.microsoft.com/office/drawing/2014/main" id="{982D6819-8B0E-4903-A3FC-05F221A32C3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8148195" y="0"/>
            <a:ext cx="8125862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5" name="Picture Placeholder 13">
            <a:extLst>
              <a:ext uri="{FF2B5EF4-FFF2-40B4-BE49-F238E27FC236}">
                <a16:creationId xmlns:a16="http://schemas.microsoft.com/office/drawing/2014/main" id="{82881FC5-89E0-4273-8AC0-D47510ECB7CC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6274058" y="0"/>
            <a:ext cx="8131056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879318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964677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>
            <a:cxnSpLocks/>
          </p:cNvCxnSpPr>
          <p:nvPr userDrawn="1"/>
        </p:nvCxnSpPr>
        <p:spPr>
          <a:xfrm>
            <a:off x="1168949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664721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518319" y="8003757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>
            <a:cxnSpLocks/>
          </p:cNvCxnSpPr>
          <p:nvPr userDrawn="1"/>
        </p:nvCxnSpPr>
        <p:spPr>
          <a:xfrm>
            <a:off x="19817957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8125883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6251766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bg1">
                <a:alpha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522774" y="9048500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30073" y="8003757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>
            <a:cxnSpLocks/>
          </p:cNvCxnSpPr>
          <p:nvPr userDrawn="1"/>
        </p:nvCxnSpPr>
        <p:spPr>
          <a:xfrm>
            <a:off x="3547550" y="8854497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294357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3D69372-0892-4978-BE16-E9E68F0739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522B1025-ADB7-40B4-8E70-21AD09508D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1F1E0E8F-FF76-4F53-86C9-62E4C962CD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2735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947C8DAE-84BB-46B4-9E34-A605A6A9528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221528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813DC8BC-2B62-4422-AAF9-2C2BD67C41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27839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extplatzhalter 27">
            <a:extLst>
              <a:ext uri="{FF2B5EF4-FFF2-40B4-BE49-F238E27FC236}">
                <a16:creationId xmlns:a16="http://schemas.microsoft.com/office/drawing/2014/main" id="{93E3262C-1D79-4F25-ABFE-E572807E8B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833548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26A51AAD-E589-4D14-8524-FDFDF289EA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685543" y="8444906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FF3EE6-EA78-45C8-AEC3-8A7B1CC63E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720996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6" name="Textplatzhalter 22">
            <a:extLst>
              <a:ext uri="{FF2B5EF4-FFF2-40B4-BE49-F238E27FC236}">
                <a16:creationId xmlns:a16="http://schemas.microsoft.com/office/drawing/2014/main" id="{4F72614A-EB84-4862-8E7A-1B3C8DD71F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574594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37" name="Straight Connector 27">
            <a:extLst>
              <a:ext uri="{FF2B5EF4-FFF2-40B4-BE49-F238E27FC236}">
                <a16:creationId xmlns:a16="http://schemas.microsoft.com/office/drawing/2014/main" id="{8C5C9BB7-68A7-4463-80EF-6EB61C94FF67}"/>
              </a:ext>
            </a:extLst>
          </p:cNvPr>
          <p:cNvCxnSpPr>
            <a:cxnSpLocks/>
          </p:cNvCxnSpPr>
          <p:nvPr userDrawn="1"/>
        </p:nvCxnSpPr>
        <p:spPr>
          <a:xfrm>
            <a:off x="8633220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1B69D6B1-490A-4209-95E9-29442290A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08444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9" name="Textplatzhalter 22">
            <a:extLst>
              <a:ext uri="{FF2B5EF4-FFF2-40B4-BE49-F238E27FC236}">
                <a16:creationId xmlns:a16="http://schemas.microsoft.com/office/drawing/2014/main" id="{E144E038-0B44-423B-87CF-6B9B2DF3FC2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2042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23569A19-2BB2-45F9-AE9A-F6AFDE8350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95892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8BBCC6FA-7491-4F97-A7A1-83C563FC9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03191" y="8444906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42" name="Straight Connector 3">
            <a:extLst>
              <a:ext uri="{FF2B5EF4-FFF2-40B4-BE49-F238E27FC236}">
                <a16:creationId xmlns:a16="http://schemas.microsoft.com/office/drawing/2014/main" id="{453DC737-CBCD-4F1F-ACF0-B7DBE166244C}"/>
              </a:ext>
            </a:extLst>
          </p:cNvPr>
          <p:cNvCxnSpPr>
            <a:cxnSpLocks/>
          </p:cNvCxnSpPr>
          <p:nvPr userDrawn="1"/>
        </p:nvCxnSpPr>
        <p:spPr>
          <a:xfrm>
            <a:off x="14745772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5">
            <a:extLst>
              <a:ext uri="{FF2B5EF4-FFF2-40B4-BE49-F238E27FC236}">
                <a16:creationId xmlns:a16="http://schemas.microsoft.com/office/drawing/2014/main" id="{142378C7-5759-41BF-B21B-03336D70E196}"/>
              </a:ext>
            </a:extLst>
          </p:cNvPr>
          <p:cNvCxnSpPr>
            <a:cxnSpLocks/>
          </p:cNvCxnSpPr>
          <p:nvPr userDrawn="1"/>
        </p:nvCxnSpPr>
        <p:spPr>
          <a:xfrm>
            <a:off x="20858324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6">
            <a:extLst>
              <a:ext uri="{FF2B5EF4-FFF2-40B4-BE49-F238E27FC236}">
                <a16:creationId xmlns:a16="http://schemas.microsoft.com/office/drawing/2014/main" id="{FED05350-83D2-40EA-BD2D-8B85FD3F0164}"/>
              </a:ext>
            </a:extLst>
          </p:cNvPr>
          <p:cNvCxnSpPr>
            <a:cxnSpLocks/>
          </p:cNvCxnSpPr>
          <p:nvPr userDrawn="1"/>
        </p:nvCxnSpPr>
        <p:spPr>
          <a:xfrm>
            <a:off x="2520668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6094412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2188825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68D1937-C5A5-45D4-8331-31AE9382F1D4}"/>
              </a:ext>
            </a:extLst>
          </p:cNvPr>
          <p:cNvCxnSpPr>
            <a:cxnSpLocks/>
          </p:cNvCxnSpPr>
          <p:nvPr userDrawn="1"/>
        </p:nvCxnSpPr>
        <p:spPr>
          <a:xfrm>
            <a:off x="18283238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8392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3D69372-0892-4978-BE16-E9E68F0739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95741"/>
            <a:ext cx="14940168" cy="1707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522B1025-ADB7-40B4-8E70-21AD09508D5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1F1E0E8F-FF76-4F53-86C9-62E4C962CD2D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6102735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Picture Placeholder 13">
            <a:extLst>
              <a:ext uri="{FF2B5EF4-FFF2-40B4-BE49-F238E27FC236}">
                <a16:creationId xmlns:a16="http://schemas.microsoft.com/office/drawing/2014/main" id="{947C8DAE-84BB-46B4-9E34-A605A6A9528D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12215287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13">
            <a:extLst>
              <a:ext uri="{FF2B5EF4-FFF2-40B4-BE49-F238E27FC236}">
                <a16:creationId xmlns:a16="http://schemas.microsoft.com/office/drawing/2014/main" id="{813DC8BC-2B62-4422-AAF9-2C2BD67C41C2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18327839" y="0"/>
            <a:ext cx="6104228" cy="13715996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Textplatzhalter 27">
            <a:extLst>
              <a:ext uri="{FF2B5EF4-FFF2-40B4-BE49-F238E27FC236}">
                <a16:creationId xmlns:a16="http://schemas.microsoft.com/office/drawing/2014/main" id="{93E3262C-1D79-4F25-ABFE-E572807E8BC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833548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26A51AAD-E589-4D14-8524-FDFDF289EA4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0685543" y="8444906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F0FF3EE6-EA78-45C8-AEC3-8A7B1CC63E9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720996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6" name="Textplatzhalter 22">
            <a:extLst>
              <a:ext uri="{FF2B5EF4-FFF2-40B4-BE49-F238E27FC236}">
                <a16:creationId xmlns:a16="http://schemas.microsoft.com/office/drawing/2014/main" id="{4F72614A-EB84-4862-8E7A-1B3C8DD71F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574594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37" name="Straight Connector 27">
            <a:extLst>
              <a:ext uri="{FF2B5EF4-FFF2-40B4-BE49-F238E27FC236}">
                <a16:creationId xmlns:a16="http://schemas.microsoft.com/office/drawing/2014/main" id="{8C5C9BB7-68A7-4463-80EF-6EB61C94FF67}"/>
              </a:ext>
            </a:extLst>
          </p:cNvPr>
          <p:cNvCxnSpPr>
            <a:cxnSpLocks/>
          </p:cNvCxnSpPr>
          <p:nvPr userDrawn="1"/>
        </p:nvCxnSpPr>
        <p:spPr>
          <a:xfrm>
            <a:off x="8633220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platzhalter 27">
            <a:extLst>
              <a:ext uri="{FF2B5EF4-FFF2-40B4-BE49-F238E27FC236}">
                <a16:creationId xmlns:a16="http://schemas.microsoft.com/office/drawing/2014/main" id="{1B69D6B1-490A-4209-95E9-29442290A6E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08444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39" name="Textplatzhalter 22">
            <a:extLst>
              <a:ext uri="{FF2B5EF4-FFF2-40B4-BE49-F238E27FC236}">
                <a16:creationId xmlns:a16="http://schemas.microsoft.com/office/drawing/2014/main" id="{E144E038-0B44-423B-87CF-6B9B2DF3FC2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62042" y="8444906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40" name="Textplatzhalter 27">
            <a:extLst>
              <a:ext uri="{FF2B5EF4-FFF2-40B4-BE49-F238E27FC236}">
                <a16:creationId xmlns:a16="http://schemas.microsoft.com/office/drawing/2014/main" id="{23569A19-2BB2-45F9-AE9A-F6AFDE83503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95892" y="9489649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41" name="Textplatzhalter 22">
            <a:extLst>
              <a:ext uri="{FF2B5EF4-FFF2-40B4-BE49-F238E27FC236}">
                <a16:creationId xmlns:a16="http://schemas.microsoft.com/office/drawing/2014/main" id="{8BBCC6FA-7491-4F97-A7A1-83C563FC9CD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03191" y="8444906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cxnSp>
        <p:nvCxnSpPr>
          <p:cNvPr id="42" name="Straight Connector 3">
            <a:extLst>
              <a:ext uri="{FF2B5EF4-FFF2-40B4-BE49-F238E27FC236}">
                <a16:creationId xmlns:a16="http://schemas.microsoft.com/office/drawing/2014/main" id="{453DC737-CBCD-4F1F-ACF0-B7DBE166244C}"/>
              </a:ext>
            </a:extLst>
          </p:cNvPr>
          <p:cNvCxnSpPr>
            <a:cxnSpLocks/>
          </p:cNvCxnSpPr>
          <p:nvPr userDrawn="1"/>
        </p:nvCxnSpPr>
        <p:spPr>
          <a:xfrm>
            <a:off x="14745772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25">
            <a:extLst>
              <a:ext uri="{FF2B5EF4-FFF2-40B4-BE49-F238E27FC236}">
                <a16:creationId xmlns:a16="http://schemas.microsoft.com/office/drawing/2014/main" id="{142378C7-5759-41BF-B21B-03336D70E196}"/>
              </a:ext>
            </a:extLst>
          </p:cNvPr>
          <p:cNvCxnSpPr>
            <a:cxnSpLocks/>
          </p:cNvCxnSpPr>
          <p:nvPr userDrawn="1"/>
        </p:nvCxnSpPr>
        <p:spPr>
          <a:xfrm>
            <a:off x="20858324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26">
            <a:extLst>
              <a:ext uri="{FF2B5EF4-FFF2-40B4-BE49-F238E27FC236}">
                <a16:creationId xmlns:a16="http://schemas.microsoft.com/office/drawing/2014/main" id="{FED05350-83D2-40EA-BD2D-8B85FD3F0164}"/>
              </a:ext>
            </a:extLst>
          </p:cNvPr>
          <p:cNvCxnSpPr>
            <a:cxnSpLocks/>
          </p:cNvCxnSpPr>
          <p:nvPr userDrawn="1"/>
        </p:nvCxnSpPr>
        <p:spPr>
          <a:xfrm>
            <a:off x="2520668" y="9295646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Gerader Verbinder 2">
            <a:extLst>
              <a:ext uri="{FF2B5EF4-FFF2-40B4-BE49-F238E27FC236}">
                <a16:creationId xmlns:a16="http://schemas.microsoft.com/office/drawing/2014/main" id="{3E7FC84C-7533-43C8-B3AA-E25B63B2FA01}"/>
              </a:ext>
            </a:extLst>
          </p:cNvPr>
          <p:cNvCxnSpPr>
            <a:cxnSpLocks/>
          </p:cNvCxnSpPr>
          <p:nvPr userDrawn="1"/>
        </p:nvCxnSpPr>
        <p:spPr>
          <a:xfrm>
            <a:off x="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CD169E8E-01F4-493E-8F69-199F829EA38E}"/>
              </a:ext>
            </a:extLst>
          </p:cNvPr>
          <p:cNvCxnSpPr>
            <a:cxnSpLocks/>
          </p:cNvCxnSpPr>
          <p:nvPr userDrawn="1"/>
        </p:nvCxnSpPr>
        <p:spPr>
          <a:xfrm>
            <a:off x="6094412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841A518-7F37-438A-81E9-AA831F36BA7C}"/>
              </a:ext>
            </a:extLst>
          </p:cNvPr>
          <p:cNvCxnSpPr>
            <a:cxnSpLocks/>
          </p:cNvCxnSpPr>
          <p:nvPr userDrawn="1"/>
        </p:nvCxnSpPr>
        <p:spPr>
          <a:xfrm>
            <a:off x="12188825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>
            <a:extLst>
              <a:ext uri="{FF2B5EF4-FFF2-40B4-BE49-F238E27FC236}">
                <a16:creationId xmlns:a16="http://schemas.microsoft.com/office/drawing/2014/main" id="{7A408E41-79DC-4E11-B194-897AD2ECD4EB}"/>
              </a:ext>
            </a:extLst>
          </p:cNvPr>
          <p:cNvCxnSpPr>
            <a:cxnSpLocks/>
          </p:cNvCxnSpPr>
          <p:nvPr userDrawn="1"/>
        </p:nvCxnSpPr>
        <p:spPr>
          <a:xfrm>
            <a:off x="24377650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F68D1937-C5A5-45D4-8331-31AE9382F1D4}"/>
              </a:ext>
            </a:extLst>
          </p:cNvPr>
          <p:cNvCxnSpPr>
            <a:cxnSpLocks/>
          </p:cNvCxnSpPr>
          <p:nvPr userDrawn="1"/>
        </p:nvCxnSpPr>
        <p:spPr>
          <a:xfrm>
            <a:off x="18283238" y="0"/>
            <a:ext cx="0" cy="1352621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147254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, Bild mit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3F31ED55-C513-4249-A759-0819E532FD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8" y="3350166"/>
            <a:ext cx="24387469" cy="6560821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27">
            <a:extLst>
              <a:ext uri="{FF2B5EF4-FFF2-40B4-BE49-F238E27FC236}">
                <a16:creationId xmlns:a16="http://schemas.microsoft.com/office/drawing/2014/main" id="{89A3D45A-DE78-43B3-94AD-88B9D69573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643520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CA1B6A73-04C2-41B7-BD3A-BB8175045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495515" y="5983059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245033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098631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/>
          <p:nvPr userDrawn="1"/>
        </p:nvCxnSpPr>
        <p:spPr>
          <a:xfrm>
            <a:off x="9089960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5184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8782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9142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6441" y="5983059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54C6AC9-07D3-453A-836E-148AADE5A7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59597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8DFDD560-938A-4B2F-B705-59538F48ED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7113" y="10633073"/>
            <a:ext cx="22323425" cy="50359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 BOX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D75FB9EA-D27C-42EB-8BE4-DBF039B36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cxnSp>
        <p:nvCxnSpPr>
          <p:cNvPr id="22" name="Straight Connector 86">
            <a:extLst>
              <a:ext uri="{FF2B5EF4-FFF2-40B4-BE49-F238E27FC236}">
                <a16:creationId xmlns:a16="http://schemas.microsoft.com/office/drawing/2014/main" id="{49D3A1DD-3F7A-4D4D-B660-F26E518BDC6E}"/>
              </a:ext>
            </a:extLst>
          </p:cNvPr>
          <p:cNvCxnSpPr/>
          <p:nvPr userDrawn="1"/>
        </p:nvCxnSpPr>
        <p:spPr>
          <a:xfrm flipH="1">
            <a:off x="12224343" y="4535047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7">
            <a:extLst>
              <a:ext uri="{FF2B5EF4-FFF2-40B4-BE49-F238E27FC236}">
                <a16:creationId xmlns:a16="http://schemas.microsoft.com/office/drawing/2014/main" id="{42DD4E2F-30B7-4B87-B798-E14E02B1D577}"/>
              </a:ext>
            </a:extLst>
          </p:cNvPr>
          <p:cNvCxnSpPr/>
          <p:nvPr userDrawn="1"/>
        </p:nvCxnSpPr>
        <p:spPr>
          <a:xfrm flipH="1">
            <a:off x="17494909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ABBF7E2B-3C50-4FC4-B695-FE3EBF1EE001}"/>
              </a:ext>
            </a:extLst>
          </p:cNvPr>
          <p:cNvCxnSpPr/>
          <p:nvPr userDrawn="1"/>
        </p:nvCxnSpPr>
        <p:spPr>
          <a:xfrm flipH="1">
            <a:off x="6950153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/>
          <p:nvPr userDrawn="1"/>
        </p:nvCxnSpPr>
        <p:spPr>
          <a:xfrm>
            <a:off x="14269809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C772ED7-FBC5-47C2-A10A-5CF53AFD9527}"/>
              </a:ext>
            </a:extLst>
          </p:cNvPr>
          <p:cNvCxnSpPr/>
          <p:nvPr userDrawn="1"/>
        </p:nvCxnSpPr>
        <p:spPr>
          <a:xfrm>
            <a:off x="19668296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/>
          <p:nvPr userDrawn="1"/>
        </p:nvCxnSpPr>
        <p:spPr>
          <a:xfrm>
            <a:off x="3723918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5">
            <a:extLst>
              <a:ext uri="{FF2B5EF4-FFF2-40B4-BE49-F238E27FC236}">
                <a16:creationId xmlns:a16="http://schemas.microsoft.com/office/drawing/2014/main" id="{5D4DB5ED-8E43-4E2D-AF54-35C4866921B8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28700878-959E-4242-8E26-C76B6A30D8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3766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1">
            <a:extLst>
              <a:ext uri="{FF2B5EF4-FFF2-40B4-BE49-F238E27FC236}">
                <a16:creationId xmlns:a16="http://schemas.microsoft.com/office/drawing/2014/main" id="{08C02DA8-42F5-4947-B0E0-0820396F4A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0A713350-6064-4EDD-A367-D323BC1547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2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439B6325-8D1F-4F84-9B1C-BB9D856506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4AAF6AA-B74C-48E7-A450-4E38B3D5A71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F916CFD0-BE43-4803-AB2B-9877C4F71D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2257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3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2A201979-2310-4CDF-A56A-0F12382C6F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7D0D36D-31AD-4F46-BAEE-470E87AEA9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22851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1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3" y="668076"/>
            <a:ext cx="22323425" cy="465399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C913647-E3FD-432F-907F-253AB0533FE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86766" y="9232020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F761D9D5-96D5-4C7B-8CDF-72B2E0762607}"/>
              </a:ext>
            </a:extLst>
          </p:cNvPr>
          <p:cNvCxnSpPr/>
          <p:nvPr userDrawn="1"/>
        </p:nvCxnSpPr>
        <p:spPr>
          <a:xfrm flipV="1">
            <a:off x="2994660" y="7629908"/>
            <a:ext cx="2138299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5">
            <a:extLst>
              <a:ext uri="{FF2B5EF4-FFF2-40B4-BE49-F238E27FC236}">
                <a16:creationId xmlns:a16="http://schemas.microsoft.com/office/drawing/2014/main" id="{866F4DE5-7C49-4753-B019-B0D14D9C4706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81">
            <a:extLst>
              <a:ext uri="{FF2B5EF4-FFF2-40B4-BE49-F238E27FC236}">
                <a16:creationId xmlns:a16="http://schemas.microsoft.com/office/drawing/2014/main" id="{B23119AE-0878-4CA4-9B20-7E375FC62E3C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8" name="Oval 91">
            <a:extLst>
              <a:ext uri="{FF2B5EF4-FFF2-40B4-BE49-F238E27FC236}">
                <a16:creationId xmlns:a16="http://schemas.microsoft.com/office/drawing/2014/main" id="{8DFC8E50-D1A8-407D-A580-113A40F1A139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A85F3A3-0646-4D9F-908E-4E539E6343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610269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21">
            <a:extLst>
              <a:ext uri="{FF2B5EF4-FFF2-40B4-BE49-F238E27FC236}">
                <a16:creationId xmlns:a16="http://schemas.microsoft.com/office/drawing/2014/main" id="{B61035E5-F1F1-4706-A8A4-12C7068173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EE17D344-FFD8-45D8-AC7E-69C6580AABE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5</a:t>
            </a:r>
          </a:p>
        </p:txBody>
      </p:sp>
      <p:sp>
        <p:nvSpPr>
          <p:cNvPr id="7" name="Textplatzhalter 13">
            <a:extLst>
              <a:ext uri="{FF2B5EF4-FFF2-40B4-BE49-F238E27FC236}">
                <a16:creationId xmlns:a16="http://schemas.microsoft.com/office/drawing/2014/main" id="{017CB59D-F8C8-43FE-B1A8-5EDFE859D29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8" name="Textplatzhalter 18">
            <a:extLst>
              <a:ext uri="{FF2B5EF4-FFF2-40B4-BE49-F238E27FC236}">
                <a16:creationId xmlns:a16="http://schemas.microsoft.com/office/drawing/2014/main" id="{B42D41C5-3352-4FE3-8F7C-68A204E79C4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9" name="Textplatzhalter 13">
            <a:extLst>
              <a:ext uri="{FF2B5EF4-FFF2-40B4-BE49-F238E27FC236}">
                <a16:creationId xmlns:a16="http://schemas.microsoft.com/office/drawing/2014/main" id="{89AD8F79-1421-4A33-A31E-5D478472B6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86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6</a:t>
            </a:r>
          </a:p>
        </p:txBody>
      </p:sp>
      <p:sp>
        <p:nvSpPr>
          <p:cNvPr id="10" name="Textplatzhalter 13">
            <a:extLst>
              <a:ext uri="{FF2B5EF4-FFF2-40B4-BE49-F238E27FC236}">
                <a16:creationId xmlns:a16="http://schemas.microsoft.com/office/drawing/2014/main" id="{8D7AABF0-0063-4876-A1CA-BFB9DF72354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7D7595D0-8564-4EA9-B627-70E840438B1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2" name="Textplatzhalter 13">
            <a:extLst>
              <a:ext uri="{FF2B5EF4-FFF2-40B4-BE49-F238E27FC236}">
                <a16:creationId xmlns:a16="http://schemas.microsoft.com/office/drawing/2014/main" id="{106DEFBC-211C-48F1-9FE3-B48CE0031CF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303860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4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F0EA465-9DFB-4360-82E9-9A941EA6F3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91419" y="9232020"/>
            <a:ext cx="6098400" cy="1818063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6" name="Straight Connector 3">
            <a:extLst>
              <a:ext uri="{FF2B5EF4-FFF2-40B4-BE49-F238E27FC236}">
                <a16:creationId xmlns:a16="http://schemas.microsoft.com/office/drawing/2014/main" id="{BB9883B4-06C3-4808-8CDF-A72A272ABF3A}"/>
              </a:ext>
            </a:extLst>
          </p:cNvPr>
          <p:cNvCxnSpPr/>
          <p:nvPr userDrawn="1"/>
        </p:nvCxnSpPr>
        <p:spPr>
          <a:xfrm>
            <a:off x="0" y="7629908"/>
            <a:ext cx="2437765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5">
            <a:extLst>
              <a:ext uri="{FF2B5EF4-FFF2-40B4-BE49-F238E27FC236}">
                <a16:creationId xmlns:a16="http://schemas.microsoft.com/office/drawing/2014/main" id="{D44BD952-084E-4BFD-BB7D-7B2E2261526C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Oval 81">
            <a:extLst>
              <a:ext uri="{FF2B5EF4-FFF2-40B4-BE49-F238E27FC236}">
                <a16:creationId xmlns:a16="http://schemas.microsoft.com/office/drawing/2014/main" id="{0B7E8639-D113-4ACD-B817-6D09FC842BD5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91">
            <a:extLst>
              <a:ext uri="{FF2B5EF4-FFF2-40B4-BE49-F238E27FC236}">
                <a16:creationId xmlns:a16="http://schemas.microsoft.com/office/drawing/2014/main" id="{8517B031-8A18-4BD9-AC9E-290BB12097EC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DF31A0A8-89B2-45F6-BA51-F150A60CF1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600349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17">
            <a:extLst>
              <a:ext uri="{FF2B5EF4-FFF2-40B4-BE49-F238E27FC236}">
                <a16:creationId xmlns:a16="http://schemas.microsoft.com/office/drawing/2014/main" id="{DDD46441-4D82-419F-BAC2-AD5BCA847A8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6702634" y="7154346"/>
            <a:ext cx="2393950" cy="833178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4800" b="1">
                <a:solidFill>
                  <a:srgbClr val="47CBB8"/>
                </a:solidFill>
              </a:defRPr>
            </a:lvl1pPr>
          </a:lstStyle>
          <a:p>
            <a:pPr lvl="0"/>
            <a:r>
              <a:rPr lang="de-DE"/>
              <a:t>FINISH</a:t>
            </a:r>
          </a:p>
        </p:txBody>
      </p:sp>
      <p:sp>
        <p:nvSpPr>
          <p:cNvPr id="15" name="Textplatzhalter 18">
            <a:extLst>
              <a:ext uri="{FF2B5EF4-FFF2-40B4-BE49-F238E27FC236}">
                <a16:creationId xmlns:a16="http://schemas.microsoft.com/office/drawing/2014/main" id="{7DE9E9F3-0AF4-4D9C-9551-798488C2236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34242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6D1C5F2-8A05-4F51-952A-3E8060EED36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734242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7AA452DD-0430-4CFF-87F2-D87BD1CA292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5466301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7" name="Textplatzhalter 18">
            <a:extLst>
              <a:ext uri="{FF2B5EF4-FFF2-40B4-BE49-F238E27FC236}">
                <a16:creationId xmlns:a16="http://schemas.microsoft.com/office/drawing/2014/main" id="{203DDD43-97E7-469F-B1C9-5BA5C3F35F9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0167914" y="9217506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3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3" name="Textplatzhalter 13">
            <a:extLst>
              <a:ext uri="{FF2B5EF4-FFF2-40B4-BE49-F238E27FC236}">
                <a16:creationId xmlns:a16="http://schemas.microsoft.com/office/drawing/2014/main" id="{D3410C09-568C-4FE5-B8A8-15D8CF79A1F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4893668" y="8582726"/>
            <a:ext cx="1366376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8</a:t>
            </a:r>
          </a:p>
        </p:txBody>
      </p:sp>
      <p:sp>
        <p:nvSpPr>
          <p:cNvPr id="16" name="Textplatzhalter 13">
            <a:extLst>
              <a:ext uri="{FF2B5EF4-FFF2-40B4-BE49-F238E27FC236}">
                <a16:creationId xmlns:a16="http://schemas.microsoft.com/office/drawing/2014/main" id="{D1698D06-29AB-4F27-9877-C0FB91ACC7D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734242" y="4750677"/>
            <a:ext cx="1289433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7</a:t>
            </a:r>
          </a:p>
        </p:txBody>
      </p:sp>
      <p:cxnSp>
        <p:nvCxnSpPr>
          <p:cNvPr id="11" name="Straight Connector 3">
            <a:extLst>
              <a:ext uri="{FF2B5EF4-FFF2-40B4-BE49-F238E27FC236}">
                <a16:creationId xmlns:a16="http://schemas.microsoft.com/office/drawing/2014/main" id="{E52D3028-7717-46ED-B83A-05790AE3071C}"/>
              </a:ext>
            </a:extLst>
          </p:cNvPr>
          <p:cNvCxnSpPr>
            <a:endCxn id="21" idx="2"/>
          </p:cNvCxnSpPr>
          <p:nvPr userDrawn="1"/>
        </p:nvCxnSpPr>
        <p:spPr>
          <a:xfrm>
            <a:off x="0" y="7629908"/>
            <a:ext cx="16031172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Oval 81">
            <a:extLst>
              <a:ext uri="{FF2B5EF4-FFF2-40B4-BE49-F238E27FC236}">
                <a16:creationId xmlns:a16="http://schemas.microsoft.com/office/drawing/2014/main" id="{0A1A2121-D3EB-415C-B084-0DFB136ECADC}"/>
              </a:ext>
            </a:extLst>
          </p:cNvPr>
          <p:cNvSpPr/>
          <p:nvPr userDrawn="1"/>
        </p:nvSpPr>
        <p:spPr>
          <a:xfrm>
            <a:off x="377293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Oval 91">
            <a:extLst>
              <a:ext uri="{FF2B5EF4-FFF2-40B4-BE49-F238E27FC236}">
                <a16:creationId xmlns:a16="http://schemas.microsoft.com/office/drawing/2014/main" id="{2534299D-9925-41C8-9551-DB28F238A42B}"/>
              </a:ext>
            </a:extLst>
          </p:cNvPr>
          <p:cNvSpPr/>
          <p:nvPr userDrawn="1"/>
        </p:nvSpPr>
        <p:spPr>
          <a:xfrm>
            <a:off x="1603117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25">
            <a:extLst>
              <a:ext uri="{FF2B5EF4-FFF2-40B4-BE49-F238E27FC236}">
                <a16:creationId xmlns:a16="http://schemas.microsoft.com/office/drawing/2014/main" id="{345C7BDE-B611-41A4-8C44-8C161764191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A1C46FA8-CEE5-427D-AB6A-937B468C87E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710272"/>
      </p:ext>
    </p:extLst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571F4A39-5197-40FD-9928-3398E953DF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4" name="Titel 1">
            <a:extLst>
              <a:ext uri="{FF2B5EF4-FFF2-40B4-BE49-F238E27FC236}">
                <a16:creationId xmlns:a16="http://schemas.microsoft.com/office/drawing/2014/main" id="{61B99AD6-8D50-4B76-A119-4140955DD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5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075E18B-C5EE-4649-8997-3E013C0255E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EED1E2E8-9BBF-4EBE-8E18-4B3D6AE7B921}"/>
              </a:ext>
            </a:extLst>
          </p:cNvPr>
          <p:cNvCxnSpPr>
            <a:cxnSpLocks/>
          </p:cNvCxnSpPr>
          <p:nvPr userDrawn="1"/>
        </p:nvCxnSpPr>
        <p:spPr>
          <a:xfrm>
            <a:off x="3580371" y="7471584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2D28384-09DA-430B-B185-6B15590286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99667" y="7746398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F083210E-CE38-4862-8EDF-07BE0FD5ED64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43889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AD1D31A5-961C-40E2-834F-A53E0FFEB1B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030376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EE6C1841-2C5E-41FF-AD7F-996404346B3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3168644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8" name="Textplatzhalter 22">
            <a:extLst>
              <a:ext uri="{FF2B5EF4-FFF2-40B4-BE49-F238E27FC236}">
                <a16:creationId xmlns:a16="http://schemas.microsoft.com/office/drawing/2014/main" id="{045786C9-5300-4A08-8010-68938B84587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6033519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9" name="Textplatzhalter 22">
            <a:extLst>
              <a:ext uri="{FF2B5EF4-FFF2-40B4-BE49-F238E27FC236}">
                <a16:creationId xmlns:a16="http://schemas.microsoft.com/office/drawing/2014/main" id="{18948A4A-7DD7-41F6-8D8C-E3AECC62983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8898392" y="7746398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9B6283B5-90CB-4352-9C41-A722FDBB51E3}"/>
              </a:ext>
            </a:extLst>
          </p:cNvPr>
          <p:cNvCxnSpPr>
            <a:cxnSpLocks/>
          </p:cNvCxnSpPr>
          <p:nvPr userDrawn="1"/>
        </p:nvCxnSpPr>
        <p:spPr>
          <a:xfrm>
            <a:off x="1675964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7D64BBDD-9767-437A-97D0-0215998786E9}"/>
              </a:ext>
            </a:extLst>
          </p:cNvPr>
          <p:cNvCxnSpPr>
            <a:cxnSpLocks/>
          </p:cNvCxnSpPr>
          <p:nvPr userDrawn="1"/>
        </p:nvCxnSpPr>
        <p:spPr>
          <a:xfrm>
            <a:off x="20944338" y="7471584"/>
            <a:ext cx="1757349" cy="0"/>
          </a:xfrm>
          <a:prstGeom prst="line">
            <a:avLst/>
          </a:prstGeom>
          <a:ln w="28575">
            <a:solidFill>
              <a:srgbClr val="0F0F38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54BABF11-9AA9-4F20-89C2-4FDB05E6B773}"/>
              </a:ext>
            </a:extLst>
          </p:cNvPr>
          <p:cNvSpPr/>
          <p:nvPr userDrawn="1"/>
        </p:nvSpPr>
        <p:spPr>
          <a:xfrm>
            <a:off x="499663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3A4D906C-5229-4D40-AF66-12F4875C638E}"/>
              </a:ext>
            </a:extLst>
          </p:cNvPr>
          <p:cNvSpPr/>
          <p:nvPr userDrawn="1"/>
        </p:nvSpPr>
        <p:spPr>
          <a:xfrm>
            <a:off x="7850254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3" name="Ellipse 32">
            <a:extLst>
              <a:ext uri="{FF2B5EF4-FFF2-40B4-BE49-F238E27FC236}">
                <a16:creationId xmlns:a16="http://schemas.microsoft.com/office/drawing/2014/main" id="{864AE5A3-95B6-4323-AFCA-97F1DF7295B4}"/>
              </a:ext>
            </a:extLst>
          </p:cNvPr>
          <p:cNvSpPr/>
          <p:nvPr userDrawn="1"/>
        </p:nvSpPr>
        <p:spPr>
          <a:xfrm>
            <a:off x="10703872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0708BFC9-5B20-48A7-9699-4CEF6132F3DC}"/>
              </a:ext>
            </a:extLst>
          </p:cNvPr>
          <p:cNvSpPr/>
          <p:nvPr userDrawn="1"/>
        </p:nvSpPr>
        <p:spPr>
          <a:xfrm>
            <a:off x="13557490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5" name="Ellipse 34">
            <a:extLst>
              <a:ext uri="{FF2B5EF4-FFF2-40B4-BE49-F238E27FC236}">
                <a16:creationId xmlns:a16="http://schemas.microsoft.com/office/drawing/2014/main" id="{FE754801-25AA-4ED4-B6B8-2AD702E2C13C}"/>
              </a:ext>
            </a:extLst>
          </p:cNvPr>
          <p:cNvSpPr/>
          <p:nvPr userDrawn="1"/>
        </p:nvSpPr>
        <p:spPr>
          <a:xfrm>
            <a:off x="16411108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36" name="Ellipse 35">
            <a:extLst>
              <a:ext uri="{FF2B5EF4-FFF2-40B4-BE49-F238E27FC236}">
                <a16:creationId xmlns:a16="http://schemas.microsoft.com/office/drawing/2014/main" id="{0071ABAF-90C8-423B-9F33-28F333BCBE97}"/>
              </a:ext>
            </a:extLst>
          </p:cNvPr>
          <p:cNvSpPr/>
          <p:nvPr userDrawn="1"/>
        </p:nvSpPr>
        <p:spPr>
          <a:xfrm>
            <a:off x="19264726" y="7401956"/>
            <a:ext cx="138024" cy="138024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61903F0F-1332-4947-8668-A7EBB5D70E2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479272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xtplatzhalter 29">
            <a:extLst>
              <a:ext uri="{FF2B5EF4-FFF2-40B4-BE49-F238E27FC236}">
                <a16:creationId xmlns:a16="http://schemas.microsoft.com/office/drawing/2014/main" id="{495AB2FD-F119-490E-9A67-CDCCA8A31A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808400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1</a:t>
            </a:r>
          </a:p>
        </p:txBody>
      </p: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5AC73FFE-7AA2-495E-8B02-0E3ED3AEC7A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525604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2</a:t>
            </a:r>
          </a:p>
        </p:txBody>
      </p:sp>
      <p:sp>
        <p:nvSpPr>
          <p:cNvPr id="32" name="Textplatzhalter 29">
            <a:extLst>
              <a:ext uri="{FF2B5EF4-FFF2-40B4-BE49-F238E27FC236}">
                <a16:creationId xmlns:a16="http://schemas.microsoft.com/office/drawing/2014/main" id="{451FC3E7-886F-43CF-983D-E416A9C688B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4243342" y="9737621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3</a:t>
            </a:r>
          </a:p>
        </p:txBody>
      </p:sp>
      <p:sp>
        <p:nvSpPr>
          <p:cNvPr id="33" name="Textplatzhalter 29">
            <a:extLst>
              <a:ext uri="{FF2B5EF4-FFF2-40B4-BE49-F238E27FC236}">
                <a16:creationId xmlns:a16="http://schemas.microsoft.com/office/drawing/2014/main" id="{B3B39D5E-4687-4608-91AE-4F2DD621A65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9962212" y="9737621"/>
            <a:ext cx="1608138" cy="433068"/>
          </a:xfrm>
        </p:spPr>
        <p:txBody>
          <a:bodyPr lIns="90000" tIns="46800" rIns="90000" bIns="46800" anchor="ctr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Subtext 4</a:t>
            </a:r>
          </a:p>
        </p:txBody>
      </p:sp>
      <p:sp>
        <p:nvSpPr>
          <p:cNvPr id="25" name="Textplatzhalter 24">
            <a:extLst>
              <a:ext uri="{FF2B5EF4-FFF2-40B4-BE49-F238E27FC236}">
                <a16:creationId xmlns:a16="http://schemas.microsoft.com/office/drawing/2014/main" id="{9448F9AC-13D4-4DC5-9538-0EE07CA2B8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603069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26" name="Textplatzhalter 24">
            <a:extLst>
              <a:ext uri="{FF2B5EF4-FFF2-40B4-BE49-F238E27FC236}">
                <a16:creationId xmlns:a16="http://schemas.microsoft.com/office/drawing/2014/main" id="{964FDC84-E9FE-4EF4-BB5C-9715196F5D3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321374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4B380E17-BA99-492E-8F74-BFEB75C8779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039111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7851D134-D36A-4701-8F51-4CCD14EDD53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8757982" y="7444005"/>
            <a:ext cx="4016600" cy="1387176"/>
          </a:xfrm>
        </p:spPr>
        <p:txBody>
          <a:bodyPr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A6DCEE5D-1162-435C-8B9D-5CBBF77F4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955669" y="6303553"/>
            <a:ext cx="131027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EAEA98D-8206-4BF3-98F9-FBB0D8A74E5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0076448" y="6303553"/>
            <a:ext cx="13808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3CDD9CFA-2FDB-43F2-B95B-59774707F0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357812" y="6303553"/>
            <a:ext cx="137920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FF431F93-0E2E-4BC9-A929-0D4F55F43A4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43045" y="6303553"/>
            <a:ext cx="137439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34" name="Textplatzhalter 7">
            <a:extLst>
              <a:ext uri="{FF2B5EF4-FFF2-40B4-BE49-F238E27FC236}">
                <a16:creationId xmlns:a16="http://schemas.microsoft.com/office/drawing/2014/main" id="{AFB270E0-6CD4-4176-BF94-19501833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6813601F-A6EE-43B6-815F-380FDC8D08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Rectangle 25">
            <a:extLst>
              <a:ext uri="{FF2B5EF4-FFF2-40B4-BE49-F238E27FC236}">
                <a16:creationId xmlns:a16="http://schemas.microsoft.com/office/drawing/2014/main" id="{76DE45EE-1CB8-4DEB-A04B-92F28A12598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6932039-8106-4B5A-9F4D-1E9E30D121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768070"/>
      </p:ext>
    </p:extLst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er Übersi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platzhalter 19">
            <a:extLst>
              <a:ext uri="{FF2B5EF4-FFF2-40B4-BE49-F238E27FC236}">
                <a16:creationId xmlns:a16="http://schemas.microsoft.com/office/drawing/2014/main" id="{0BA50F00-A376-4FEF-850C-72BCDB5B2C0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960545" y="9637230"/>
            <a:ext cx="1380804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19">
            <a:extLst>
              <a:ext uri="{FF2B5EF4-FFF2-40B4-BE49-F238E27FC236}">
                <a16:creationId xmlns:a16="http://schemas.microsoft.com/office/drawing/2014/main" id="{633517D7-5834-441A-A1BE-8C0838319C8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6877202" y="9637230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D5998E42-052D-4A57-A761-C83AD243382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054874" y="9637230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7" name="Textplatzhalter 24">
            <a:extLst>
              <a:ext uri="{FF2B5EF4-FFF2-40B4-BE49-F238E27FC236}">
                <a16:creationId xmlns:a16="http://schemas.microsoft.com/office/drawing/2014/main" id="{9BE6F373-72B3-4CEA-B657-129359DEB9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055200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8" name="Textplatzhalter 24">
            <a:extLst>
              <a:ext uri="{FF2B5EF4-FFF2-40B4-BE49-F238E27FC236}">
                <a16:creationId xmlns:a16="http://schemas.microsoft.com/office/drawing/2014/main" id="{5BFE5BB5-A0EE-4137-BE18-1FB59EC0D07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966037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9" name="Textplatzhalter 24">
            <a:extLst>
              <a:ext uri="{FF2B5EF4-FFF2-40B4-BE49-F238E27FC236}">
                <a16:creationId xmlns:a16="http://schemas.microsoft.com/office/drawing/2014/main" id="{1F57B874-EF82-44AD-B39D-DA781E55EE5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6877526" y="10406917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AEA7E045-7959-475E-BBE7-07F759A751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55199" y="513444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1C1E501-93A8-4C38-B04C-D10ADE8DEBB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960871" y="5134446"/>
            <a:ext cx="137439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C5C0FF84-9728-4DAE-804C-62F2FD86450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6877528" y="5134446"/>
            <a:ext cx="1379202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8" name="Textplatzhalter 24">
            <a:extLst>
              <a:ext uri="{FF2B5EF4-FFF2-40B4-BE49-F238E27FC236}">
                <a16:creationId xmlns:a16="http://schemas.microsoft.com/office/drawing/2014/main" id="{F2854146-6CE9-444F-952E-8243947A261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055526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2" name="Textplatzhalter 24">
            <a:extLst>
              <a:ext uri="{FF2B5EF4-FFF2-40B4-BE49-F238E27FC236}">
                <a16:creationId xmlns:a16="http://schemas.microsoft.com/office/drawing/2014/main" id="{6C294909-7B40-4B57-A9D1-EA96DB58C81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966363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23" name="Textplatzhalter 24">
            <a:extLst>
              <a:ext uri="{FF2B5EF4-FFF2-40B4-BE49-F238E27FC236}">
                <a16:creationId xmlns:a16="http://schemas.microsoft.com/office/drawing/2014/main" id="{C239D4E2-2F95-4605-A144-2FCC9885492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6877852" y="5904133"/>
            <a:ext cx="52956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endParaRPr lang="en-US"/>
          </a:p>
        </p:txBody>
      </p:sp>
      <p:sp>
        <p:nvSpPr>
          <p:cNvPr id="16" name="Textplatzhalter 7">
            <a:extLst>
              <a:ext uri="{FF2B5EF4-FFF2-40B4-BE49-F238E27FC236}">
                <a16:creationId xmlns:a16="http://schemas.microsoft.com/office/drawing/2014/main" id="{A1E38BC3-2059-4D53-809E-40AA37A790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7" name="Titel 1">
            <a:extLst>
              <a:ext uri="{FF2B5EF4-FFF2-40B4-BE49-F238E27FC236}">
                <a16:creationId xmlns:a16="http://schemas.microsoft.com/office/drawing/2014/main" id="{324E5D9F-2104-4727-9BAE-201B6F613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30" name="Rectangle 25">
            <a:extLst>
              <a:ext uri="{FF2B5EF4-FFF2-40B4-BE49-F238E27FC236}">
                <a16:creationId xmlns:a16="http://schemas.microsoft.com/office/drawing/2014/main" id="{91AA7CDC-40B9-4C07-A0BC-43AA4AE2C1E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8C18DD8D-D902-4F5A-8834-B8B81F51A85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131317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char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el 1">
            <a:extLst>
              <a:ext uri="{FF2B5EF4-FFF2-40B4-BE49-F238E27FC236}">
                <a16:creationId xmlns:a16="http://schemas.microsoft.com/office/drawing/2014/main" id="{6B698BE0-CB40-10B1-0411-537E15EB1C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01463" y="3842911"/>
            <a:ext cx="10624998" cy="3300329"/>
          </a:xfrm>
        </p:spPr>
        <p:txBody>
          <a:bodyPr lIns="36000" tIns="36000" rIns="36000" bIns="36000" anchor="b" anchorCtr="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7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B43F34-628D-4E84-AF9E-1022C26135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  <p:cxnSp>
        <p:nvCxnSpPr>
          <p:cNvPr id="9" name="Straight Connector 18">
            <a:extLst>
              <a:ext uri="{FF2B5EF4-FFF2-40B4-BE49-F238E27FC236}">
                <a16:creationId xmlns:a16="http://schemas.microsoft.com/office/drawing/2014/main" id="{5C6AE20E-5B7F-BAF5-34B2-3D54F11CE60D}"/>
              </a:ext>
            </a:extLst>
          </p:cNvPr>
          <p:cNvCxnSpPr/>
          <p:nvPr userDrawn="1"/>
        </p:nvCxnSpPr>
        <p:spPr>
          <a:xfrm flipV="1">
            <a:off x="1049224" y="7426041"/>
            <a:ext cx="6408000" cy="202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61606034"/>
      </p:ext>
    </p:extLst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>
            <a:extLst>
              <a:ext uri="{FF2B5EF4-FFF2-40B4-BE49-F238E27FC236}">
                <a16:creationId xmlns:a16="http://schemas.microsoft.com/office/drawing/2014/main" id="{AC61D604-EBD9-4111-952E-FEEC295BE7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415286" y="7798304"/>
            <a:ext cx="8939994" cy="3110724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5C0062E5-9E1E-4C66-AFC1-842A08173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908509" y="2728013"/>
            <a:ext cx="9446771" cy="4073798"/>
          </a:xfrm>
        </p:spPr>
        <p:txBody>
          <a:bodyPr lIns="36000" tIns="36000" rIns="36000" bIns="360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3000" b="0">
                <a:solidFill>
                  <a:srgbClr val="0F0F38"/>
                </a:solidFill>
              </a:defRPr>
            </a:lvl1pPr>
          </a:lstStyle>
          <a:p>
            <a:r>
              <a:rPr lang="de-DE"/>
              <a:t>TITEL BEARBEIT.</a:t>
            </a:r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07A4B4DC-0B8A-466F-ACF0-A042125AD245}"/>
              </a:ext>
            </a:extLst>
          </p:cNvPr>
          <p:cNvCxnSpPr/>
          <p:nvPr userDrawn="1"/>
        </p:nvCxnSpPr>
        <p:spPr>
          <a:xfrm flipV="1">
            <a:off x="15953838" y="7123813"/>
            <a:ext cx="7401442" cy="4296"/>
          </a:xfrm>
          <a:prstGeom prst="line">
            <a:avLst/>
          </a:prstGeom>
          <a:ln w="57150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Picture Placeholder 13">
            <a:extLst>
              <a:ext uri="{FF2B5EF4-FFF2-40B4-BE49-F238E27FC236}">
                <a16:creationId xmlns:a16="http://schemas.microsoft.com/office/drawing/2014/main" id="{EF95D2FD-F5C1-4944-A837-58361580A1C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9433" cy="13716000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rgbClr val="0F0F38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258093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link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2D7A5210-FAAD-4518-93BE-7BDB9A827C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036D12A6-8E12-44E8-92CB-38913EAC84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7" name="Straight Connector 9">
            <a:extLst>
              <a:ext uri="{FF2B5EF4-FFF2-40B4-BE49-F238E27FC236}">
                <a16:creationId xmlns:a16="http://schemas.microsoft.com/office/drawing/2014/main" id="{5F2DF93D-194D-4849-8F7C-D67C5A6FF571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AE4B65E7-95EE-F94B-882B-CA65814B17F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D963E023-929E-4278-8499-23C911587466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321992F-4276-478A-B8EC-831AFDB9EE4C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814553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, Bild mitti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3">
            <a:extLst>
              <a:ext uri="{FF2B5EF4-FFF2-40B4-BE49-F238E27FC236}">
                <a16:creationId xmlns:a16="http://schemas.microsoft.com/office/drawing/2014/main" id="{3F31ED55-C513-4249-A759-0819E532FD4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9818" y="3350166"/>
            <a:ext cx="24387469" cy="6560821"/>
          </a:xfrm>
          <a:prstGeom prst="rect">
            <a:avLst/>
          </a:prstGeom>
          <a:solidFill>
            <a:srgbClr val="D9D9D9"/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27">
            <a:extLst>
              <a:ext uri="{FF2B5EF4-FFF2-40B4-BE49-F238E27FC236}">
                <a16:creationId xmlns:a16="http://schemas.microsoft.com/office/drawing/2014/main" id="{89A3D45A-DE78-43B3-94AD-88B9D695730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8643520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1" name="Textplatzhalter 22">
            <a:extLst>
              <a:ext uri="{FF2B5EF4-FFF2-40B4-BE49-F238E27FC236}">
                <a16:creationId xmlns:a16="http://schemas.microsoft.com/office/drawing/2014/main" id="{CA1B6A73-04C2-41B7-BD3A-BB8175045A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495515" y="5983059"/>
            <a:ext cx="1388820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4</a:t>
            </a:r>
          </a:p>
        </p:txBody>
      </p:sp>
      <p:sp>
        <p:nvSpPr>
          <p:cNvPr id="12" name="Textplatzhalter 27">
            <a:extLst>
              <a:ext uri="{FF2B5EF4-FFF2-40B4-BE49-F238E27FC236}">
                <a16:creationId xmlns:a16="http://schemas.microsoft.com/office/drawing/2014/main" id="{291147A0-79D2-48EC-842A-E74FBDDF92A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245033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3" name="Textplatzhalter 22">
            <a:extLst>
              <a:ext uri="{FF2B5EF4-FFF2-40B4-BE49-F238E27FC236}">
                <a16:creationId xmlns:a16="http://schemas.microsoft.com/office/drawing/2014/main" id="{788757DB-AB33-4A1E-9C19-673CF217765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4098631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3</a:t>
            </a:r>
          </a:p>
        </p:txBody>
      </p:sp>
      <p:cxnSp>
        <p:nvCxnSpPr>
          <p:cNvPr id="14" name="Straight Connector 27">
            <a:extLst>
              <a:ext uri="{FF2B5EF4-FFF2-40B4-BE49-F238E27FC236}">
                <a16:creationId xmlns:a16="http://schemas.microsoft.com/office/drawing/2014/main" id="{C0FAFF52-99B3-4E54-B3C0-B5E30283BD16}"/>
              </a:ext>
            </a:extLst>
          </p:cNvPr>
          <p:cNvCxnSpPr/>
          <p:nvPr userDrawn="1"/>
        </p:nvCxnSpPr>
        <p:spPr>
          <a:xfrm>
            <a:off x="9089960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27">
            <a:extLst>
              <a:ext uri="{FF2B5EF4-FFF2-40B4-BE49-F238E27FC236}">
                <a16:creationId xmlns:a16="http://schemas.microsoft.com/office/drawing/2014/main" id="{44B519C3-4D76-4B04-8F0C-B1E0D831B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065184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6" name="Textplatzhalter 22">
            <a:extLst>
              <a:ext uri="{FF2B5EF4-FFF2-40B4-BE49-F238E27FC236}">
                <a16:creationId xmlns:a16="http://schemas.microsoft.com/office/drawing/2014/main" id="{C7629B2F-4A0A-4067-9199-4B10EDAA1D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918782" y="5983059"/>
            <a:ext cx="1385614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2</a:t>
            </a:r>
          </a:p>
        </p:txBody>
      </p:sp>
      <p:sp>
        <p:nvSpPr>
          <p:cNvPr id="17" name="Textplatzhalter 27">
            <a:extLst>
              <a:ext uri="{FF2B5EF4-FFF2-40B4-BE49-F238E27FC236}">
                <a16:creationId xmlns:a16="http://schemas.microsoft.com/office/drawing/2014/main" id="{0944AD7C-AF75-4A48-8F4A-DEF485B80DC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699142" y="7027802"/>
            <a:ext cx="3092811" cy="525401"/>
          </a:xfrm>
        </p:spPr>
        <p:txBody>
          <a:bodyPr wrap="none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Description Text</a:t>
            </a:r>
          </a:p>
        </p:txBody>
      </p:sp>
      <p:sp>
        <p:nvSpPr>
          <p:cNvPr id="18" name="Textplatzhalter 22">
            <a:extLst>
              <a:ext uri="{FF2B5EF4-FFF2-40B4-BE49-F238E27FC236}">
                <a16:creationId xmlns:a16="http://schemas.microsoft.com/office/drawing/2014/main" id="{64F113E7-2C6A-4A7E-BC16-82053F00D97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06441" y="5983059"/>
            <a:ext cx="1278212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ITEL 1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54C6AC9-07D3-453A-836E-148AADE5A77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59597"/>
            <a:ext cx="22323424" cy="442035"/>
          </a:xfrm>
        </p:spPr>
        <p:txBody>
          <a:bodyPr lIns="36000" tIns="36000" rIns="36000" bIns="360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8DFDD560-938A-4B2F-B705-59538F48ED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7113" y="10633073"/>
            <a:ext cx="22323425" cy="503590"/>
          </a:xfrm>
        </p:spPr>
        <p:txBody>
          <a:bodyPr anchor="ctr" anchorCtr="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 BOX</a:t>
            </a:r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D75FB9EA-D27C-42EB-8BE4-DBF039B365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287154"/>
            <a:ext cx="22323424" cy="996033"/>
          </a:xfrm>
        </p:spPr>
        <p:txBody>
          <a:bodyPr lIns="36000" tIns="36000" rIns="36000" bIns="36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cxnSp>
        <p:nvCxnSpPr>
          <p:cNvPr id="22" name="Straight Connector 86">
            <a:extLst>
              <a:ext uri="{FF2B5EF4-FFF2-40B4-BE49-F238E27FC236}">
                <a16:creationId xmlns:a16="http://schemas.microsoft.com/office/drawing/2014/main" id="{49D3A1DD-3F7A-4D4D-B660-F26E518BDC6E}"/>
              </a:ext>
            </a:extLst>
          </p:cNvPr>
          <p:cNvCxnSpPr/>
          <p:nvPr userDrawn="1"/>
        </p:nvCxnSpPr>
        <p:spPr>
          <a:xfrm flipH="1">
            <a:off x="12224343" y="4535047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87">
            <a:extLst>
              <a:ext uri="{FF2B5EF4-FFF2-40B4-BE49-F238E27FC236}">
                <a16:creationId xmlns:a16="http://schemas.microsoft.com/office/drawing/2014/main" id="{42DD4E2F-30B7-4B87-B798-E14E02B1D577}"/>
              </a:ext>
            </a:extLst>
          </p:cNvPr>
          <p:cNvCxnSpPr/>
          <p:nvPr userDrawn="1"/>
        </p:nvCxnSpPr>
        <p:spPr>
          <a:xfrm flipH="1">
            <a:off x="17494909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88">
            <a:extLst>
              <a:ext uri="{FF2B5EF4-FFF2-40B4-BE49-F238E27FC236}">
                <a16:creationId xmlns:a16="http://schemas.microsoft.com/office/drawing/2014/main" id="{ABBF7E2B-3C50-4FC4-B695-FE3EBF1EE001}"/>
              </a:ext>
            </a:extLst>
          </p:cNvPr>
          <p:cNvCxnSpPr/>
          <p:nvPr userDrawn="1"/>
        </p:nvCxnSpPr>
        <p:spPr>
          <a:xfrm flipH="1">
            <a:off x="6950153" y="4535045"/>
            <a:ext cx="0" cy="4191065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3">
            <a:extLst>
              <a:ext uri="{FF2B5EF4-FFF2-40B4-BE49-F238E27FC236}">
                <a16:creationId xmlns:a16="http://schemas.microsoft.com/office/drawing/2014/main" id="{FD1D0CCF-889E-4DF3-B2F8-AAE95C1C57DF}"/>
              </a:ext>
            </a:extLst>
          </p:cNvPr>
          <p:cNvCxnSpPr/>
          <p:nvPr userDrawn="1"/>
        </p:nvCxnSpPr>
        <p:spPr>
          <a:xfrm>
            <a:off x="14269809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C772ED7-FBC5-47C2-A10A-5CF53AFD9527}"/>
              </a:ext>
            </a:extLst>
          </p:cNvPr>
          <p:cNvCxnSpPr/>
          <p:nvPr userDrawn="1"/>
        </p:nvCxnSpPr>
        <p:spPr>
          <a:xfrm>
            <a:off x="19668296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A165ECE-8AEF-4CAE-B5ED-17AC7D768AB1}"/>
              </a:ext>
            </a:extLst>
          </p:cNvPr>
          <p:cNvCxnSpPr/>
          <p:nvPr userDrawn="1"/>
        </p:nvCxnSpPr>
        <p:spPr>
          <a:xfrm>
            <a:off x="3723918" y="6833799"/>
            <a:ext cx="1043259" cy="0"/>
          </a:xfrm>
          <a:prstGeom prst="line">
            <a:avLst/>
          </a:prstGeom>
          <a:ln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5">
            <a:extLst>
              <a:ext uri="{FF2B5EF4-FFF2-40B4-BE49-F238E27FC236}">
                <a16:creationId xmlns:a16="http://schemas.microsoft.com/office/drawing/2014/main" id="{5D4DB5ED-8E43-4E2D-AF54-35C4866921B8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28700878-959E-4242-8E26-C76B6A30D84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45315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enutzerdefiniertes Layout">
    <p:bg>
      <p:bgPr>
        <a:solidFill>
          <a:srgbClr val="0F0F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7C4A3D3-C08F-6E4C-9726-8E90E92E0DB9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12178221" y="17020"/>
            <a:ext cx="12199432" cy="13716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A9DCE32F-82CE-434D-AB3F-D8D82DD409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17833" y="1848139"/>
            <a:ext cx="10624998" cy="3300329"/>
          </a:xfrm>
        </p:spPr>
        <p:txBody>
          <a:bodyPr lIns="36000" tIns="36000" rIns="36000" bIns="36000">
            <a:noAutofit/>
          </a:bodyPr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8000" b="0">
                <a:gradFill>
                  <a:gsLst>
                    <a:gs pos="0">
                      <a:srgbClr val="EE7344"/>
                    </a:gs>
                    <a:gs pos="51000">
                      <a:srgbClr val="B43C65"/>
                    </a:gs>
                    <a:gs pos="100000">
                      <a:srgbClr val="A52080"/>
                    </a:gs>
                  </a:gsLst>
                  <a:lin ang="0" scaled="0"/>
                </a:gradFill>
                <a:latin typeface="Mont AS" panose="00000500000000000000" pitchFamily="2" charset="0"/>
              </a:defRPr>
            </a:lvl1pPr>
          </a:lstStyle>
          <a:p>
            <a:r>
              <a:rPr lang="de-DE"/>
              <a:t>TITEL DURCH 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2C1655FB-A2BD-7E48-8061-E9D607379F8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016294" y="6170557"/>
            <a:ext cx="10624998" cy="1919363"/>
          </a:xfrm>
        </p:spPr>
        <p:txBody>
          <a:bodyPr lIns="36000" tIns="36000" rIns="36000" bIns="360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endParaRPr lang="de-DE"/>
          </a:p>
        </p:txBody>
      </p:sp>
      <p:cxnSp>
        <p:nvCxnSpPr>
          <p:cNvPr id="6" name="Straight Connector 9">
            <a:extLst>
              <a:ext uri="{FF2B5EF4-FFF2-40B4-BE49-F238E27FC236}">
                <a16:creationId xmlns:a16="http://schemas.microsoft.com/office/drawing/2014/main" id="{74A600D0-C015-944A-A986-5373CD1F003E}"/>
              </a:ext>
            </a:extLst>
          </p:cNvPr>
          <p:cNvCxnSpPr/>
          <p:nvPr userDrawn="1"/>
        </p:nvCxnSpPr>
        <p:spPr>
          <a:xfrm flipV="1">
            <a:off x="1067031" y="5563135"/>
            <a:ext cx="7401442" cy="0"/>
          </a:xfrm>
          <a:prstGeom prst="line">
            <a:avLst/>
          </a:prstGeom>
          <a:ln w="53975">
            <a:solidFill>
              <a:srgbClr val="47CBB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D2BAFAFF-CDEA-7E40-890C-86F2C115A1F9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016294" y="1102211"/>
            <a:ext cx="10624998" cy="349695"/>
          </a:xfrm>
        </p:spPr>
        <p:txBody>
          <a:bodyPr lIns="36000" tIns="36000" rIns="36000" bIns="36000" anchor="ctr" anchorCtr="0"/>
          <a:lstStyle>
            <a:lvl1pPr algn="l">
              <a:defRPr sz="1800" spc="30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LOREM IPSUM DOLOR SIT AMET, CONSETETU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9B1E222A-86C8-B942-8FD6-2335D719CAF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010315" y="12884179"/>
            <a:ext cx="10972382" cy="257369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872188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13">
            <a:extLst>
              <a:ext uri="{FF2B5EF4-FFF2-40B4-BE49-F238E27FC236}">
                <a16:creationId xmlns:a16="http://schemas.microsoft.com/office/drawing/2014/main" id="{D4F9432A-087F-41FA-9E6E-D518236A277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49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73EC33B3-B8E7-4363-9E01-F1968924BA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57756" y="2197945"/>
            <a:ext cx="6368905" cy="3046988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6600" b="0"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</a:t>
            </a:r>
            <a:br>
              <a:rPr lang="de-DE"/>
            </a:br>
            <a:r>
              <a:rPr lang="de-DE"/>
              <a:t>KLICKEN</a:t>
            </a:r>
            <a:br>
              <a:rPr lang="de-DE"/>
            </a:br>
            <a:r>
              <a:rPr lang="de-DE"/>
              <a:t>BEARBEITEN</a:t>
            </a:r>
          </a:p>
        </p:txBody>
      </p:sp>
      <p:sp>
        <p:nvSpPr>
          <p:cNvPr id="38" name="Textplatzhalter 18">
            <a:extLst>
              <a:ext uri="{FF2B5EF4-FFF2-40B4-BE49-F238E27FC236}">
                <a16:creationId xmlns:a16="http://schemas.microsoft.com/office/drawing/2014/main" id="{0FF27343-2CE3-4A5D-89C1-1A2EA26AF0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882402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39" name="Textplatzhalter 18">
            <a:extLst>
              <a:ext uri="{FF2B5EF4-FFF2-40B4-BE49-F238E27FC236}">
                <a16:creationId xmlns:a16="http://schemas.microsoft.com/office/drawing/2014/main" id="{6E93C50F-EC16-46A8-91AF-B11C6D2987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311863" y="7315201"/>
            <a:ext cx="10309648" cy="956288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00A6FB-D52A-4504-BB75-90F8DA0EE0A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86190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5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3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21" name="Picture Placeholder 13">
            <a:extLst>
              <a:ext uri="{FF2B5EF4-FFF2-40B4-BE49-F238E27FC236}">
                <a16:creationId xmlns:a16="http://schemas.microsoft.com/office/drawing/2014/main" id="{A6BF5741-6663-4F91-8E54-81F9B0BAAFA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7AE1A291-718B-4AC5-9BC6-D3486CFD440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926291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Horizonta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13">
            <a:extLst>
              <a:ext uri="{FF2B5EF4-FFF2-40B4-BE49-F238E27FC236}">
                <a16:creationId xmlns:a16="http://schemas.microsoft.com/office/drawing/2014/main" id="{4F8960D8-14F1-4F50-8557-A9422A912C4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77650" cy="6400800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3" name="Textplatzhalter 19">
            <a:extLst>
              <a:ext uri="{FF2B5EF4-FFF2-40B4-BE49-F238E27FC236}">
                <a16:creationId xmlns:a16="http://schemas.microsoft.com/office/drawing/2014/main" id="{CBCDF3C9-5895-4967-88F0-1474BBC44F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18931" y="9834475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5" name="Textplatzhalter 19">
            <a:extLst>
              <a:ext uri="{FF2B5EF4-FFF2-40B4-BE49-F238E27FC236}">
                <a16:creationId xmlns:a16="http://schemas.microsoft.com/office/drawing/2014/main" id="{A4CD3133-5AC1-4358-9E48-0DE8EDEDE9A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471247" y="9834475"/>
            <a:ext cx="14337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952E4535-2E6A-4411-9DEE-0C10CDDCBF4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8805285" y="9834475"/>
            <a:ext cx="1438512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16" name="Textplatzhalter 24">
            <a:extLst>
              <a:ext uri="{FF2B5EF4-FFF2-40B4-BE49-F238E27FC236}">
                <a16:creationId xmlns:a16="http://schemas.microsoft.com/office/drawing/2014/main" id="{851B0148-7D11-4B4A-B5C9-9169604CE7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6118742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C4D798DD-E9A7-4B09-BC6A-212E09B8566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52136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</a:t>
            </a:r>
          </a:p>
        </p:txBody>
      </p:sp>
      <p:sp>
        <p:nvSpPr>
          <p:cNvPr id="14" name="Textplatzhalter 24">
            <a:extLst>
              <a:ext uri="{FF2B5EF4-FFF2-40B4-BE49-F238E27FC236}">
                <a16:creationId xmlns:a16="http://schemas.microsoft.com/office/drawing/2014/main" id="{532C927B-7440-4933-9022-5207094D6A2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3027" y="10477218"/>
            <a:ext cx="6811596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endParaRPr lang="en-US"/>
          </a:p>
        </p:txBody>
      </p:sp>
      <p:sp>
        <p:nvSpPr>
          <p:cNvPr id="18" name="Textplatzhalter 7">
            <a:extLst>
              <a:ext uri="{FF2B5EF4-FFF2-40B4-BE49-F238E27FC236}">
                <a16:creationId xmlns:a16="http://schemas.microsoft.com/office/drawing/2014/main" id="{086E1399-4716-403C-93EF-39C460CE0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19825" y="668077"/>
            <a:ext cx="18738000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9" name="Titel 1">
            <a:extLst>
              <a:ext uri="{FF2B5EF4-FFF2-40B4-BE49-F238E27FC236}">
                <a16:creationId xmlns:a16="http://schemas.microsoft.com/office/drawing/2014/main" id="{F088D9A9-9D5E-405A-9A16-2C8B7DF085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75964" y="1323505"/>
            <a:ext cx="210257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1" name="Rectangle 19">
            <a:extLst>
              <a:ext uri="{FF2B5EF4-FFF2-40B4-BE49-F238E27FC236}">
                <a16:creationId xmlns:a16="http://schemas.microsoft.com/office/drawing/2014/main" id="{68B54CD5-0DA4-4ED2-BE7A-5A488843FE70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43D7E8B8-53E7-4D9F-9A7F-99E3E3E7DEA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591486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D31D793F-024F-4B33-86F2-7A4C8F986A80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24970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3">
            <a:extLst>
              <a:ext uri="{FF2B5EF4-FFF2-40B4-BE49-F238E27FC236}">
                <a16:creationId xmlns:a16="http://schemas.microsoft.com/office/drawing/2014/main" id="{A495461A-EA81-472C-9981-7D5B1DBDE1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844426" y="3211142"/>
            <a:ext cx="9119339" cy="5663918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>
                <a:ln>
                  <a:noFill/>
                </a:ln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1EFAE153-9C1C-4261-BF45-0C1926065F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780307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5" name="Textplatzhalter 12">
            <a:extLst>
              <a:ext uri="{FF2B5EF4-FFF2-40B4-BE49-F238E27FC236}">
                <a16:creationId xmlns:a16="http://schemas.microsoft.com/office/drawing/2014/main" id="{89E4C361-97FA-47A1-AB64-65A5D6B2E0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2422153" y="9927473"/>
            <a:ext cx="9164115" cy="1387176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60269E40-A90C-45DE-B619-F9BD7156BC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6"/>
            <a:ext cx="22323423" cy="475323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5CA03EAB-381A-49F9-9936-C6F5C43B8E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2" name="Rectangle 25">
            <a:extLst>
              <a:ext uri="{FF2B5EF4-FFF2-40B4-BE49-F238E27FC236}">
                <a16:creationId xmlns:a16="http://schemas.microsoft.com/office/drawing/2014/main" id="{58A15B00-0176-4E3B-9F6E-8E966E7C3D82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C0130162-2C9B-4DC8-AE4E-86FBF1E8C69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663144" y="9160411"/>
            <a:ext cx="146255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1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172B992F-D625-4F32-8E8C-A34D23CBF88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295815" y="9160411"/>
            <a:ext cx="154110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 2 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F7766EAE-0C88-4010-9A75-983923D46F7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119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er Aufzählung mit Bil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>
            <a:extLst>
              <a:ext uri="{FF2B5EF4-FFF2-40B4-BE49-F238E27FC236}">
                <a16:creationId xmlns:a16="http://schemas.microsoft.com/office/drawing/2014/main" id="{6E6B05D2-862C-47A0-93F1-DAE16974BD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81767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8" name="Picture Placeholder 13">
            <a:extLst>
              <a:ext uri="{FF2B5EF4-FFF2-40B4-BE49-F238E27FC236}">
                <a16:creationId xmlns:a16="http://schemas.microsoft.com/office/drawing/2014/main" id="{2030F7C6-1972-425B-B760-2553897884A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5749859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Picture Placeholder 13">
            <a:extLst>
              <a:ext uri="{FF2B5EF4-FFF2-40B4-BE49-F238E27FC236}">
                <a16:creationId xmlns:a16="http://schemas.microsoft.com/office/drawing/2014/main" id="{17F7E2AF-52DD-41A0-AFE4-228BD974CC8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546770" y="3969834"/>
            <a:ext cx="6039672" cy="6222381"/>
          </a:xfrm>
          <a:prstGeom prst="rect">
            <a:avLst/>
          </a:prstGeom>
          <a:solidFill>
            <a:schemeClr val="bg1">
              <a:lumMod val="75000"/>
            </a:schemeClr>
          </a:solidFill>
          <a:effectLst/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None/>
              <a:defRPr sz="2000" b="0" i="0">
                <a:ln>
                  <a:noFill/>
                </a:ln>
                <a:solidFill>
                  <a:schemeClr val="tx2"/>
                </a:solidFill>
                <a:latin typeface="Arial Nova Light" panose="020B0304020202020204" pitchFamily="34" charset="0"/>
                <a:ea typeface="Arial Nova Light" panose="020B0304020202020204" pitchFamily="34" charset="0"/>
                <a:cs typeface="Arial Nova Light" panose="020B03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BC9E9C5-744C-4F79-A6E1-417575DDD9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10691745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7">
            <a:extLst>
              <a:ext uri="{FF2B5EF4-FFF2-40B4-BE49-F238E27FC236}">
                <a16:creationId xmlns:a16="http://schemas.microsoft.com/office/drawing/2014/main" id="{29A9C71E-7500-43ED-99B8-335EC43C3B0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EDEDA218-0FD2-4BD7-BBF9-3D7E94763C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10" name="Rectangle 19">
            <a:extLst>
              <a:ext uri="{FF2B5EF4-FFF2-40B4-BE49-F238E27FC236}">
                <a16:creationId xmlns:a16="http://schemas.microsoft.com/office/drawing/2014/main" id="{707A7660-E980-4A64-9931-1B039EA6B6F4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5" name="Textplatzhalter 29">
            <a:extLst>
              <a:ext uri="{FF2B5EF4-FFF2-40B4-BE49-F238E27FC236}">
                <a16:creationId xmlns:a16="http://schemas.microsoft.com/office/drawing/2014/main" id="{EF00ABB4-254B-47C9-8E39-86097309483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62536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1</a:t>
            </a:r>
          </a:p>
        </p:txBody>
      </p:sp>
      <p:sp>
        <p:nvSpPr>
          <p:cNvPr id="26" name="Textplatzhalter 29">
            <a:extLst>
              <a:ext uri="{FF2B5EF4-FFF2-40B4-BE49-F238E27FC236}">
                <a16:creationId xmlns:a16="http://schemas.microsoft.com/office/drawing/2014/main" id="{BBAEBD02-E291-4A83-85BA-C3F87EB443C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406527" y="7427903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2</a:t>
            </a:r>
          </a:p>
        </p:txBody>
      </p:sp>
      <p:sp>
        <p:nvSpPr>
          <p:cNvPr id="27" name="Textplatzhalter 29">
            <a:extLst>
              <a:ext uri="{FF2B5EF4-FFF2-40B4-BE49-F238E27FC236}">
                <a16:creationId xmlns:a16="http://schemas.microsoft.com/office/drawing/2014/main" id="{2A3CF59D-ECA1-4CB1-9975-65F2AC74BE9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913418" y="7444382"/>
            <a:ext cx="1608138" cy="43306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Subline</a:t>
            </a:r>
            <a:r>
              <a:rPr lang="de-DE"/>
              <a:t> 3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1A13466-2447-4EF9-BDB1-BF5C6DB826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10855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4C89757E-0123-459A-87B5-84874218F62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654846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E1DB4F51-216D-43E2-88AD-B137B5758D8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8161737" y="6597528"/>
            <a:ext cx="1111500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7F429CD0-C915-4842-A119-0F175849B0C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571715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er Bilderfol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3">
            <a:extLst>
              <a:ext uri="{FF2B5EF4-FFF2-40B4-BE49-F238E27FC236}">
                <a16:creationId xmlns:a16="http://schemas.microsoft.com/office/drawing/2014/main" id="{329A1FEA-36C0-46B1-A22C-79CA84A3F8EF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27839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8" name="Picture Placeholder 3">
            <a:extLst>
              <a:ext uri="{FF2B5EF4-FFF2-40B4-BE49-F238E27FC236}">
                <a16:creationId xmlns:a16="http://schemas.microsoft.com/office/drawing/2014/main" id="{A93CD340-C9FF-4C60-BD2D-B1972C60F9BC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780575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5A16C52C-DCF4-420A-976B-DFADB8F0DC9C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12853831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EDECC6E0-90E0-44CC-A77A-93DF8BE0B8F0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7851795" y="5138737"/>
            <a:ext cx="3798758" cy="3971707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4" name="Textplatzhalter 12">
            <a:extLst>
              <a:ext uri="{FF2B5EF4-FFF2-40B4-BE49-F238E27FC236}">
                <a16:creationId xmlns:a16="http://schemas.microsoft.com/office/drawing/2014/main" id="{DAF7022D-FFA6-4019-B683-5B2307DCE5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141" y="3028472"/>
            <a:ext cx="13361368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endParaRPr lang="de-DE"/>
          </a:p>
        </p:txBody>
      </p:sp>
      <p:sp>
        <p:nvSpPr>
          <p:cNvPr id="5" name="Textplatzhalter 19">
            <a:extLst>
              <a:ext uri="{FF2B5EF4-FFF2-40B4-BE49-F238E27FC236}">
                <a16:creationId xmlns:a16="http://schemas.microsoft.com/office/drawing/2014/main" id="{9B232F7E-D583-4FBE-9633-DD2B8C82BB7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89754" y="9499947"/>
            <a:ext cx="2188717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6" name="Textplatzhalter 24">
            <a:extLst>
              <a:ext uri="{FF2B5EF4-FFF2-40B4-BE49-F238E27FC236}">
                <a16:creationId xmlns:a16="http://schemas.microsoft.com/office/drawing/2014/main" id="{2537C1CB-98F7-4F9D-BB74-CBEAAEC262A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531919" y="10142690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7" name="Textplatzhalter 19">
            <a:extLst>
              <a:ext uri="{FF2B5EF4-FFF2-40B4-BE49-F238E27FC236}">
                <a16:creationId xmlns:a16="http://schemas.microsoft.com/office/drawing/2014/main" id="{89CAA96B-0E24-4766-A948-4DF28B18B88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571502" y="9501331"/>
            <a:ext cx="2267265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8" name="Textplatzhalter 24">
            <a:extLst>
              <a:ext uri="{FF2B5EF4-FFF2-40B4-BE49-F238E27FC236}">
                <a16:creationId xmlns:a16="http://schemas.microsoft.com/office/drawing/2014/main" id="{6AE252FA-D13C-47B9-994B-F16C5596BC3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552941" y="10144074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" name="Textplatzhalter 19">
            <a:extLst>
              <a:ext uri="{FF2B5EF4-FFF2-40B4-BE49-F238E27FC236}">
                <a16:creationId xmlns:a16="http://schemas.microsoft.com/office/drawing/2014/main" id="{1C1120E4-6248-4946-9F83-E555527B0021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3616224" y="9504992"/>
            <a:ext cx="2272074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10" name="Textplatzhalter 24">
            <a:extLst>
              <a:ext uri="{FF2B5EF4-FFF2-40B4-BE49-F238E27FC236}">
                <a16:creationId xmlns:a16="http://schemas.microsoft.com/office/drawing/2014/main" id="{DE41F3E3-E61C-4819-95D9-CE5C026CFC6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2600067" y="10147735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1" name="Textplatzhalter 19">
            <a:extLst>
              <a:ext uri="{FF2B5EF4-FFF2-40B4-BE49-F238E27FC236}">
                <a16:creationId xmlns:a16="http://schemas.microsoft.com/office/drawing/2014/main" id="{215806F9-EFB7-462A-8234-A97BB4A78BB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8636445" y="9506376"/>
            <a:ext cx="2273677" cy="586957"/>
          </a:xfrm>
        </p:spPr>
        <p:txBody>
          <a:bodyPr wrap="none" lIns="90000" tIns="46800" rIns="90000" bIns="46800"/>
          <a:lstStyle>
            <a:lvl1pPr marL="0" marR="0" indent="0" algn="ctr" defTabSz="182843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Tx/>
              <a:buSzTx/>
              <a:buFontTx/>
              <a:buNone/>
              <a:tabLst/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marL="0" marR="0" lvl="0" indent="0" algn="ctr" defTabSz="182843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12" name="Textplatzhalter 24">
            <a:extLst>
              <a:ext uri="{FF2B5EF4-FFF2-40B4-BE49-F238E27FC236}">
                <a16:creationId xmlns:a16="http://schemas.microsoft.com/office/drawing/2014/main" id="{61C55E8B-B9F1-41E1-A1FB-C5057172E0D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7621089" y="10149119"/>
            <a:ext cx="4304387" cy="956288"/>
          </a:xfrm>
        </p:spPr>
        <p:txBody>
          <a:bodyPr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17" name="AutoShape 35">
            <a:extLst>
              <a:ext uri="{FF2B5EF4-FFF2-40B4-BE49-F238E27FC236}">
                <a16:creationId xmlns:a16="http://schemas.microsoft.com/office/drawing/2014/main" id="{8E3D4E20-46AB-4D94-BB8D-99EDD5506671}"/>
              </a:ext>
            </a:extLst>
          </p:cNvPr>
          <p:cNvSpPr>
            <a:spLocks/>
          </p:cNvSpPr>
          <p:nvPr userDrawn="1"/>
        </p:nvSpPr>
        <p:spPr bwMode="auto">
          <a:xfrm>
            <a:off x="6096244" y="5980112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8" name="AutoShape 38">
            <a:extLst>
              <a:ext uri="{FF2B5EF4-FFF2-40B4-BE49-F238E27FC236}">
                <a16:creationId xmlns:a16="http://schemas.microsoft.com/office/drawing/2014/main" id="{2B02D462-BAB1-453F-9FB1-4B376C3DF387}"/>
              </a:ext>
            </a:extLst>
          </p:cNvPr>
          <p:cNvSpPr>
            <a:spLocks/>
          </p:cNvSpPr>
          <p:nvPr userDrawn="1"/>
        </p:nvSpPr>
        <p:spPr bwMode="auto">
          <a:xfrm>
            <a:off x="11130482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19" name="Freeform 2">
            <a:extLst>
              <a:ext uri="{FF2B5EF4-FFF2-40B4-BE49-F238E27FC236}">
                <a16:creationId xmlns:a16="http://schemas.microsoft.com/office/drawing/2014/main" id="{66069817-3316-4D6F-BFC8-36E271EF4EF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825465" y="6587800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0" name="Freeform 2">
            <a:extLst>
              <a:ext uri="{FF2B5EF4-FFF2-40B4-BE49-F238E27FC236}">
                <a16:creationId xmlns:a16="http://schemas.microsoft.com/office/drawing/2014/main" id="{6A2D9E9A-6420-44FA-BA91-3007FE3193A6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6800023" y="658779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AutoShape 41">
            <a:extLst>
              <a:ext uri="{FF2B5EF4-FFF2-40B4-BE49-F238E27FC236}">
                <a16:creationId xmlns:a16="http://schemas.microsoft.com/office/drawing/2014/main" id="{99D64F8F-66EC-4992-A347-2DFE7C3231EB}"/>
              </a:ext>
            </a:extLst>
          </p:cNvPr>
          <p:cNvSpPr>
            <a:spLocks/>
          </p:cNvSpPr>
          <p:nvPr userDrawn="1"/>
        </p:nvSpPr>
        <p:spPr bwMode="auto">
          <a:xfrm>
            <a:off x="16164721" y="5980114"/>
            <a:ext cx="2161612" cy="2162175"/>
          </a:xfrm>
          <a:prstGeom prst="rect">
            <a:avLst/>
          </a:prstGeom>
          <a:solidFill>
            <a:srgbClr val="47CBB8"/>
          </a:solidFill>
          <a:ln>
            <a:noFill/>
          </a:ln>
          <a:effectLst/>
        </p:spPr>
        <p:txBody>
          <a:bodyPr lIns="0" tIns="0" rIns="0" bIns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s-ES" sz="5600">
              <a:solidFill>
                <a:srgbClr val="0F0F38"/>
              </a:solidFill>
              <a:effectLst>
                <a:outerShdw blurRad="38100" dist="38100" dir="2700000" algn="tl">
                  <a:srgbClr val="000000"/>
                </a:outerShdw>
              </a:effectLst>
              <a:cs typeface="Gill Sans" charset="0"/>
              <a:sym typeface="Gill Sans" charset="0"/>
            </a:endParaRPr>
          </a:p>
        </p:txBody>
      </p:sp>
      <p:sp>
        <p:nvSpPr>
          <p:cNvPr id="22" name="Freeform 2">
            <a:extLst>
              <a:ext uri="{FF2B5EF4-FFF2-40B4-BE49-F238E27FC236}">
                <a16:creationId xmlns:a16="http://schemas.microsoft.com/office/drawing/2014/main" id="{B8D3C213-731D-4C35-87F2-BD04BADDA4D4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6856733" y="6610078"/>
            <a:ext cx="878960" cy="941355"/>
          </a:xfrm>
          <a:custGeom>
            <a:avLst/>
            <a:gdLst>
              <a:gd name="T0" fmla="*/ 168 w 355"/>
              <a:gd name="T1" fmla="*/ 0 h 382"/>
              <a:gd name="T2" fmla="*/ 168 w 355"/>
              <a:gd name="T3" fmla="*/ 97 h 382"/>
              <a:gd name="T4" fmla="*/ 0 w 355"/>
              <a:gd name="T5" fmla="*/ 97 h 382"/>
              <a:gd name="T6" fmla="*/ 0 w 355"/>
              <a:gd name="T7" fmla="*/ 283 h 382"/>
              <a:gd name="T8" fmla="*/ 168 w 355"/>
              <a:gd name="T9" fmla="*/ 283 h 382"/>
              <a:gd name="T10" fmla="*/ 168 w 355"/>
              <a:gd name="T11" fmla="*/ 381 h 382"/>
              <a:gd name="T12" fmla="*/ 354 w 355"/>
              <a:gd name="T13" fmla="*/ 186 h 382"/>
              <a:gd name="T14" fmla="*/ 168 w 355"/>
              <a:gd name="T15" fmla="*/ 0 h 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355" h="382">
                <a:moveTo>
                  <a:pt x="168" y="0"/>
                </a:moveTo>
                <a:lnTo>
                  <a:pt x="168" y="97"/>
                </a:lnTo>
                <a:lnTo>
                  <a:pt x="0" y="97"/>
                </a:lnTo>
                <a:lnTo>
                  <a:pt x="0" y="283"/>
                </a:lnTo>
                <a:lnTo>
                  <a:pt x="168" y="283"/>
                </a:lnTo>
                <a:lnTo>
                  <a:pt x="168" y="381"/>
                </a:lnTo>
                <a:lnTo>
                  <a:pt x="354" y="186"/>
                </a:lnTo>
                <a:lnTo>
                  <a:pt x="168" y="0"/>
                </a:lnTo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91424" tIns="45712" rIns="91424" bIns="45712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/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Textplatzhalter 7">
            <a:extLst>
              <a:ext uri="{FF2B5EF4-FFF2-40B4-BE49-F238E27FC236}">
                <a16:creationId xmlns:a16="http://schemas.microsoft.com/office/drawing/2014/main" id="{7A12FBD9-F953-4453-9D0D-65E0CFB6D51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4" name="Titel 1">
            <a:extLst>
              <a:ext uri="{FF2B5EF4-FFF2-40B4-BE49-F238E27FC236}">
                <a16:creationId xmlns:a16="http://schemas.microsoft.com/office/drawing/2014/main" id="{3BB49A98-3BD2-4D8C-9E24-912F92AA1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5" name="Rectangle 19">
            <a:extLst>
              <a:ext uri="{FF2B5EF4-FFF2-40B4-BE49-F238E27FC236}">
                <a16:creationId xmlns:a16="http://schemas.microsoft.com/office/drawing/2014/main" id="{B09A21FF-F0F7-4221-95E3-99D782CBD39E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5C16AF4-AC3F-434D-9EA0-6A458055C6E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64954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er Teilung eck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5333DED6-CB63-471E-8C86-4E96728003B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76003" y="2202007"/>
            <a:ext cx="9589783" cy="463846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F6453E6D-8988-47DC-B00A-2FEC1C41D7E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221631" y="8436896"/>
            <a:ext cx="7137188" cy="463846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 /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2FE039D4-8715-412B-AD77-17C91AD73C4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096939" y="7786202"/>
            <a:ext cx="6449675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8" name="Rectangle 18">
            <a:extLst>
              <a:ext uri="{FF2B5EF4-FFF2-40B4-BE49-F238E27FC236}">
                <a16:creationId xmlns:a16="http://schemas.microsoft.com/office/drawing/2014/main" id="{28F5826C-FA98-43C4-A556-515AB0BED83C}"/>
              </a:ext>
            </a:extLst>
          </p:cNvPr>
          <p:cNvSpPr/>
          <p:nvPr userDrawn="1"/>
        </p:nvSpPr>
        <p:spPr>
          <a:xfrm>
            <a:off x="9869716" y="2906181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22">
            <a:extLst>
              <a:ext uri="{FF2B5EF4-FFF2-40B4-BE49-F238E27FC236}">
                <a16:creationId xmlns:a16="http://schemas.microsoft.com/office/drawing/2014/main" id="{6F2613D5-2F37-4386-A890-3E6393EE1E04}"/>
              </a:ext>
            </a:extLst>
          </p:cNvPr>
          <p:cNvSpPr/>
          <p:nvPr userDrawn="1"/>
        </p:nvSpPr>
        <p:spPr>
          <a:xfrm>
            <a:off x="13446129" y="9147149"/>
            <a:ext cx="1063653" cy="20379"/>
          </a:xfrm>
          <a:prstGeom prst="rect">
            <a:avLst/>
          </a:prstGeom>
          <a:solidFill>
            <a:schemeClr val="tx2"/>
          </a:solidFill>
          <a:ln w="25400"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4" name="Textplatzhalter 19">
            <a:extLst>
              <a:ext uri="{FF2B5EF4-FFF2-40B4-BE49-F238E27FC236}">
                <a16:creationId xmlns:a16="http://schemas.microsoft.com/office/drawing/2014/main" id="{97569666-3A88-4808-B6EC-E45330DD8FB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0713" y="1547416"/>
            <a:ext cx="6435073" cy="586957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itel durch klicken bearbeiten</a:t>
            </a:r>
          </a:p>
        </p:txBody>
      </p:sp>
      <p:sp>
        <p:nvSpPr>
          <p:cNvPr id="15" name="Textplatzhalter 24">
            <a:extLst>
              <a:ext uri="{FF2B5EF4-FFF2-40B4-BE49-F238E27FC236}">
                <a16:creationId xmlns:a16="http://schemas.microsoft.com/office/drawing/2014/main" id="{D3C9B893-5569-4D6A-BC65-3D279B3746A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676337" y="3568389"/>
            <a:ext cx="8489449" cy="1796252"/>
          </a:xfrm>
        </p:spPr>
        <p:txBody>
          <a:bodyPr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17" name="Textplatzhalter 24">
            <a:extLst>
              <a:ext uri="{FF2B5EF4-FFF2-40B4-BE49-F238E27FC236}">
                <a16:creationId xmlns:a16="http://schemas.microsoft.com/office/drawing/2014/main" id="{B272E55B-8249-436D-B961-1CC6D68FE63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221631" y="9809355"/>
            <a:ext cx="8489449" cy="1796252"/>
          </a:xfrm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erat, sed </a:t>
            </a:r>
            <a:r>
              <a:rPr lang="de-DE" err="1"/>
              <a:t>diam</a:t>
            </a:r>
            <a:endParaRPr lang="de-DE"/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33BF56E-38E6-445F-B6B7-3E601EDEC10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" y="6860715"/>
            <a:ext cx="12252907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3E442BC2-8D14-485F-B313-A5FD8EBA5FD3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12252908" y="0"/>
            <a:ext cx="12124741" cy="6877589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27226791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lk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extplatzhalter 24">
            <a:extLst>
              <a:ext uri="{FF2B5EF4-FFF2-40B4-BE49-F238E27FC236}">
                <a16:creationId xmlns:a16="http://schemas.microsoft.com/office/drawing/2014/main" id="{3AB3174B-4E02-4C2D-9BE6-9850661B19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353532" y="4258527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EE485F5-5EE9-4652-AE8D-8E10130DB7EA}"/>
              </a:ext>
            </a:extLst>
          </p:cNvPr>
          <p:cNvSpPr/>
          <p:nvPr userDrawn="1"/>
        </p:nvSpPr>
        <p:spPr>
          <a:xfrm>
            <a:off x="12468978" y="8091640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9" name="Rectangle 62">
            <a:extLst>
              <a:ext uri="{FF2B5EF4-FFF2-40B4-BE49-F238E27FC236}">
                <a16:creationId xmlns:a16="http://schemas.microsoft.com/office/drawing/2014/main" id="{E5D69472-5CAD-4E43-A925-02D0D4C07952}"/>
              </a:ext>
            </a:extLst>
          </p:cNvPr>
          <p:cNvSpPr/>
          <p:nvPr userDrawn="1"/>
        </p:nvSpPr>
        <p:spPr>
          <a:xfrm>
            <a:off x="12468976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2" name="Rectangle 66">
            <a:extLst>
              <a:ext uri="{FF2B5EF4-FFF2-40B4-BE49-F238E27FC236}">
                <a16:creationId xmlns:a16="http://schemas.microsoft.com/office/drawing/2014/main" id="{AA2CDCDC-23F4-4357-9EC9-12AAE0667B4F}"/>
              </a:ext>
            </a:extLst>
          </p:cNvPr>
          <p:cNvSpPr/>
          <p:nvPr userDrawn="1"/>
        </p:nvSpPr>
        <p:spPr>
          <a:xfrm>
            <a:off x="12468978" y="515705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5" name="Rectangle 70">
            <a:extLst>
              <a:ext uri="{FF2B5EF4-FFF2-40B4-BE49-F238E27FC236}">
                <a16:creationId xmlns:a16="http://schemas.microsoft.com/office/drawing/2014/main" id="{037AB560-D6FD-4618-A056-7ECA1394F2F5}"/>
              </a:ext>
            </a:extLst>
          </p:cNvPr>
          <p:cNvSpPr/>
          <p:nvPr userDrawn="1"/>
        </p:nvSpPr>
        <p:spPr>
          <a:xfrm>
            <a:off x="2410576" y="8091638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18" name="Rectangle 74">
            <a:extLst>
              <a:ext uri="{FF2B5EF4-FFF2-40B4-BE49-F238E27FC236}">
                <a16:creationId xmlns:a16="http://schemas.microsoft.com/office/drawing/2014/main" id="{D60BF983-271C-4906-A922-42CD77D25242}"/>
              </a:ext>
            </a:extLst>
          </p:cNvPr>
          <p:cNvSpPr/>
          <p:nvPr userDrawn="1"/>
        </p:nvSpPr>
        <p:spPr>
          <a:xfrm>
            <a:off x="2431841" y="11039394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1" name="Rectangle 78">
            <a:extLst>
              <a:ext uri="{FF2B5EF4-FFF2-40B4-BE49-F238E27FC236}">
                <a16:creationId xmlns:a16="http://schemas.microsoft.com/office/drawing/2014/main" id="{BD94000D-8E3C-4C70-BC31-DA68FA0EA4FB}"/>
              </a:ext>
            </a:extLst>
          </p:cNvPr>
          <p:cNvSpPr/>
          <p:nvPr userDrawn="1"/>
        </p:nvSpPr>
        <p:spPr>
          <a:xfrm>
            <a:off x="2431841" y="5157052"/>
            <a:ext cx="9497891" cy="6592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3" name="Rectangle 79">
            <a:extLst>
              <a:ext uri="{FF2B5EF4-FFF2-40B4-BE49-F238E27FC236}">
                <a16:creationId xmlns:a16="http://schemas.microsoft.com/office/drawing/2014/main" id="{44EB5F99-2771-4401-941E-A33044E71FAF}"/>
              </a:ext>
            </a:extLst>
          </p:cNvPr>
          <p:cNvSpPr/>
          <p:nvPr/>
        </p:nvSpPr>
        <p:spPr>
          <a:xfrm>
            <a:off x="2431841" y="5144453"/>
            <a:ext cx="6286859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Rectangle 67">
            <a:extLst>
              <a:ext uri="{FF2B5EF4-FFF2-40B4-BE49-F238E27FC236}">
                <a16:creationId xmlns:a16="http://schemas.microsoft.com/office/drawing/2014/main" id="{F8628228-BB13-4A94-97BE-F93CC31CE19C}"/>
              </a:ext>
            </a:extLst>
          </p:cNvPr>
          <p:cNvSpPr/>
          <p:nvPr/>
        </p:nvSpPr>
        <p:spPr>
          <a:xfrm>
            <a:off x="12468975" y="5144453"/>
            <a:ext cx="4162998" cy="667512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9" name="Rectangle 71">
            <a:extLst>
              <a:ext uri="{FF2B5EF4-FFF2-40B4-BE49-F238E27FC236}">
                <a16:creationId xmlns:a16="http://schemas.microsoft.com/office/drawing/2014/main" id="{340A0113-B4CC-44DF-A2AF-6AF6DCBD335D}"/>
              </a:ext>
            </a:extLst>
          </p:cNvPr>
          <p:cNvSpPr/>
          <p:nvPr/>
        </p:nvSpPr>
        <p:spPr>
          <a:xfrm>
            <a:off x="2409538" y="8101344"/>
            <a:ext cx="8523442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75">
            <a:extLst>
              <a:ext uri="{FF2B5EF4-FFF2-40B4-BE49-F238E27FC236}">
                <a16:creationId xmlns:a16="http://schemas.microsoft.com/office/drawing/2014/main" id="{AC588129-B632-4FE9-8142-AD266CFA7679}"/>
              </a:ext>
            </a:extLst>
          </p:cNvPr>
          <p:cNvSpPr/>
          <p:nvPr/>
        </p:nvSpPr>
        <p:spPr>
          <a:xfrm>
            <a:off x="2431842" y="11049100"/>
            <a:ext cx="5585109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5" name="Rectangle 63">
            <a:extLst>
              <a:ext uri="{FF2B5EF4-FFF2-40B4-BE49-F238E27FC236}">
                <a16:creationId xmlns:a16="http://schemas.microsoft.com/office/drawing/2014/main" id="{3F5F0B02-267F-4355-9782-FE39ED4E5334}"/>
              </a:ext>
            </a:extLst>
          </p:cNvPr>
          <p:cNvSpPr/>
          <p:nvPr/>
        </p:nvSpPr>
        <p:spPr>
          <a:xfrm>
            <a:off x="12468976" y="11049100"/>
            <a:ext cx="5989146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8" name="Rectangle 59">
            <a:extLst>
              <a:ext uri="{FF2B5EF4-FFF2-40B4-BE49-F238E27FC236}">
                <a16:creationId xmlns:a16="http://schemas.microsoft.com/office/drawing/2014/main" id="{AD3685F1-63E8-464A-A42F-662770EFAFE1}"/>
              </a:ext>
            </a:extLst>
          </p:cNvPr>
          <p:cNvSpPr/>
          <p:nvPr/>
        </p:nvSpPr>
        <p:spPr>
          <a:xfrm>
            <a:off x="12468977" y="8101346"/>
            <a:ext cx="8583491" cy="659219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0" name="Textplatzhalter 7">
            <a:extLst>
              <a:ext uri="{FF2B5EF4-FFF2-40B4-BE49-F238E27FC236}">
                <a16:creationId xmlns:a16="http://schemas.microsoft.com/office/drawing/2014/main" id="{AEF81924-BD2E-4B79-AB16-FDA00EF9A9F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1" name="Titel 1">
            <a:extLst>
              <a:ext uri="{FF2B5EF4-FFF2-40B4-BE49-F238E27FC236}">
                <a16:creationId xmlns:a16="http://schemas.microsoft.com/office/drawing/2014/main" id="{3E8A280A-027B-4DD1-BB3D-F56AF56C3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42" name="Rectangle 19">
            <a:extLst>
              <a:ext uri="{FF2B5EF4-FFF2-40B4-BE49-F238E27FC236}">
                <a16:creationId xmlns:a16="http://schemas.microsoft.com/office/drawing/2014/main" id="{1CC76B6A-DABC-46C1-A5BD-7C6C15F7C107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43" name="Textplatzhalter 19">
            <a:extLst>
              <a:ext uri="{FF2B5EF4-FFF2-40B4-BE49-F238E27FC236}">
                <a16:creationId xmlns:a16="http://schemas.microsoft.com/office/drawing/2014/main" id="{1A6EEDB6-2554-4945-B6E5-F59297AC3F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353532" y="3639867"/>
            <a:ext cx="1324699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45" name="Textplatzhalter 24">
            <a:extLst>
              <a:ext uri="{FF2B5EF4-FFF2-40B4-BE49-F238E27FC236}">
                <a16:creationId xmlns:a16="http://schemas.microsoft.com/office/drawing/2014/main" id="{0590DE02-8E2E-483F-B6BB-BB03DF9F350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2468974" y="4266116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6" name="Textplatzhalter 19">
            <a:extLst>
              <a:ext uri="{FF2B5EF4-FFF2-40B4-BE49-F238E27FC236}">
                <a16:creationId xmlns:a16="http://schemas.microsoft.com/office/drawing/2014/main" id="{C21C74AF-E9C0-4C79-A3A3-91112E2BEFF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2468974" y="3639176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47" name="Textplatzhalter 24">
            <a:extLst>
              <a:ext uri="{FF2B5EF4-FFF2-40B4-BE49-F238E27FC236}">
                <a16:creationId xmlns:a16="http://schemas.microsoft.com/office/drawing/2014/main" id="{3E9B20F6-0B05-49C9-AAB5-AE8C414AF66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2353532" y="7210864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48" name="Textplatzhalter 19">
            <a:extLst>
              <a:ext uri="{FF2B5EF4-FFF2-40B4-BE49-F238E27FC236}">
                <a16:creationId xmlns:a16="http://schemas.microsoft.com/office/drawing/2014/main" id="{D8893120-8D44-42D1-B769-4E68D96216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353532" y="6592204"/>
            <a:ext cx="140805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49" name="Textplatzhalter 24">
            <a:extLst>
              <a:ext uri="{FF2B5EF4-FFF2-40B4-BE49-F238E27FC236}">
                <a16:creationId xmlns:a16="http://schemas.microsoft.com/office/drawing/2014/main" id="{64DFBECE-D359-4194-B370-E4B1910245D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2468974" y="7218453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0" name="Textplatzhalter 19">
            <a:extLst>
              <a:ext uri="{FF2B5EF4-FFF2-40B4-BE49-F238E27FC236}">
                <a16:creationId xmlns:a16="http://schemas.microsoft.com/office/drawing/2014/main" id="{11000CCE-DDA3-4460-8AF5-0BC07D6AA347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468974" y="6591513"/>
            <a:ext cx="1409658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4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F0239194-0531-4FD9-8636-B2AAD97B60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353532" y="10095769"/>
            <a:ext cx="7525075" cy="525401"/>
          </a:xfrm>
        </p:spPr>
        <p:txBody>
          <a:bodyPr lIns="90000" tIns="46800" rIns="90000" bIns="46800"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2" name="Textplatzhalter 19">
            <a:extLst>
              <a:ext uri="{FF2B5EF4-FFF2-40B4-BE49-F238E27FC236}">
                <a16:creationId xmlns:a16="http://schemas.microsoft.com/office/drawing/2014/main" id="{DDCFA497-25D6-45F9-B073-DFC73516048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353532" y="9477109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3" name="Textplatzhalter 24">
            <a:extLst>
              <a:ext uri="{FF2B5EF4-FFF2-40B4-BE49-F238E27FC236}">
                <a16:creationId xmlns:a16="http://schemas.microsoft.com/office/drawing/2014/main" id="{6A85BDAD-EB65-4FEE-8CB4-696F41C451AE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2468974" y="10103358"/>
            <a:ext cx="7525075" cy="503590"/>
          </a:xfrm>
        </p:spPr>
        <p:txBody>
          <a:bodyPr anchor="ctr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54" name="Textplatzhalter 19">
            <a:extLst>
              <a:ext uri="{FF2B5EF4-FFF2-40B4-BE49-F238E27FC236}">
                <a16:creationId xmlns:a16="http://schemas.microsoft.com/office/drawing/2014/main" id="{9D273F7E-3337-4719-A49E-E86518350E9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2468974" y="9476418"/>
            <a:ext cx="140324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TITEL5</a:t>
            </a:r>
          </a:p>
        </p:txBody>
      </p:sp>
      <p:sp>
        <p:nvSpPr>
          <p:cNvPr id="55" name="Textplatzhalter 19">
            <a:extLst>
              <a:ext uri="{FF2B5EF4-FFF2-40B4-BE49-F238E27FC236}">
                <a16:creationId xmlns:a16="http://schemas.microsoft.com/office/drawing/2014/main" id="{3338E026-5EA7-45C1-BAA4-F2EC4EEEFED3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451583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6" name="Textplatzhalter 19">
            <a:extLst>
              <a:ext uri="{FF2B5EF4-FFF2-40B4-BE49-F238E27FC236}">
                <a16:creationId xmlns:a16="http://schemas.microsoft.com/office/drawing/2014/main" id="{AC422482-FC79-4B33-9572-C9478C1658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694077" y="8179812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7" name="Textplatzhalter 19">
            <a:extLst>
              <a:ext uri="{FF2B5EF4-FFF2-40B4-BE49-F238E27FC236}">
                <a16:creationId xmlns:a16="http://schemas.microsoft.com/office/drawing/2014/main" id="{26FD1855-9CCA-41CD-81E7-66891DFCB1D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808002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8" name="Textplatzhalter 19">
            <a:extLst>
              <a:ext uri="{FF2B5EF4-FFF2-40B4-BE49-F238E27FC236}">
                <a16:creationId xmlns:a16="http://schemas.microsoft.com/office/drawing/2014/main" id="{0C3E86B7-4253-4787-AA8D-FE0548DBA36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5463549" y="5223960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59" name="Textplatzhalter 19">
            <a:extLst>
              <a:ext uri="{FF2B5EF4-FFF2-40B4-BE49-F238E27FC236}">
                <a16:creationId xmlns:a16="http://schemas.microsoft.com/office/drawing/2014/main" id="{DA58BBFB-F196-4DF5-AD8F-046398C9F0A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9813565" y="8158546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60" name="Textplatzhalter 19">
            <a:extLst>
              <a:ext uri="{FF2B5EF4-FFF2-40B4-BE49-F238E27FC236}">
                <a16:creationId xmlns:a16="http://schemas.microsoft.com/office/drawing/2014/main" id="{8479F256-02BA-46A7-BD67-EE2075F2E9C4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7217921" y="11106301"/>
            <a:ext cx="114836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1">
                <a:solidFill>
                  <a:schemeClr val="bg1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de-DE"/>
              <a:t>WERT</a:t>
            </a:r>
          </a:p>
        </p:txBody>
      </p:sp>
      <p:sp>
        <p:nvSpPr>
          <p:cNvPr id="37" name="Textplatzhalter 6">
            <a:extLst>
              <a:ext uri="{FF2B5EF4-FFF2-40B4-BE49-F238E27FC236}">
                <a16:creationId xmlns:a16="http://schemas.microsoft.com/office/drawing/2014/main" id="{74DB5864-B3C3-4222-8CD6-23600BCC90E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49785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7C917511-2E2D-47DF-AA50-A5B0A11D9284}"/>
              </a:ext>
            </a:extLst>
          </p:cNvPr>
          <p:cNvSpPr/>
          <p:nvPr userDrawn="1"/>
        </p:nvSpPr>
        <p:spPr>
          <a:xfrm>
            <a:off x="5446643" y="4558934"/>
            <a:ext cx="16899825" cy="6269213"/>
          </a:xfrm>
          <a:prstGeom prst="roundRect">
            <a:avLst>
              <a:gd name="adj" fmla="val 945"/>
            </a:avLst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0F0F38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3760B71-930F-4B21-986D-D0BBDF2583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3" y="1323505"/>
            <a:ext cx="22323423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8" name="Textplatzhalter 7">
            <a:extLst>
              <a:ext uri="{FF2B5EF4-FFF2-40B4-BE49-F238E27FC236}">
                <a16:creationId xmlns:a16="http://schemas.microsoft.com/office/drawing/2014/main" id="{1DC15372-F63C-4B6D-ABA3-1B84F4899C1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50117"/>
            <a:ext cx="22323424" cy="463846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3ED6C008-CBFE-4B50-9956-8CDC0ACA14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903770" y="5525376"/>
            <a:ext cx="1938649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753AEE9E-9E72-4C70-8607-4662DBF215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68504" y="6925441"/>
            <a:ext cx="200918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2</a:t>
            </a:r>
          </a:p>
        </p:txBody>
      </p:sp>
      <p:sp>
        <p:nvSpPr>
          <p:cNvPr id="31" name="Textplatzhalter 19">
            <a:extLst>
              <a:ext uri="{FF2B5EF4-FFF2-40B4-BE49-F238E27FC236}">
                <a16:creationId xmlns:a16="http://schemas.microsoft.com/office/drawing/2014/main" id="{0D024CD7-8AA1-4228-A9DD-A48EEC8C7AC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866901" y="8325506"/>
            <a:ext cx="2012388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3</a:t>
            </a:r>
          </a:p>
        </p:txBody>
      </p:sp>
      <p:sp>
        <p:nvSpPr>
          <p:cNvPr id="32" name="Textplatzhalter 19">
            <a:extLst>
              <a:ext uri="{FF2B5EF4-FFF2-40B4-BE49-F238E27FC236}">
                <a16:creationId xmlns:a16="http://schemas.microsoft.com/office/drawing/2014/main" id="{D5D599BA-76FD-4782-8B64-DB53B1FB315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866099" y="9725570"/>
            <a:ext cx="2013991" cy="52540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8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 err="1"/>
              <a:t>Example</a:t>
            </a:r>
            <a:r>
              <a:rPr lang="de-DE"/>
              <a:t> 4</a:t>
            </a:r>
          </a:p>
        </p:txBody>
      </p:sp>
      <p:sp>
        <p:nvSpPr>
          <p:cNvPr id="34" name="Rectangle 19">
            <a:extLst>
              <a:ext uri="{FF2B5EF4-FFF2-40B4-BE49-F238E27FC236}">
                <a16:creationId xmlns:a16="http://schemas.microsoft.com/office/drawing/2014/main" id="{F36839B7-167A-4A6B-A658-1BE09DFA4C35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98CF1DF0-8B9E-43D2-9436-A84FF0668629}"/>
              </a:ext>
            </a:extLst>
          </p:cNvPr>
          <p:cNvCxnSpPr>
            <a:cxnSpLocks/>
          </p:cNvCxnSpPr>
          <p:nvPr userDrawn="1"/>
        </p:nvCxnSpPr>
        <p:spPr>
          <a:xfrm>
            <a:off x="5130140" y="4284845"/>
            <a:ext cx="17216907" cy="0"/>
          </a:xfrm>
          <a:prstGeom prst="line">
            <a:avLst/>
          </a:prstGeom>
          <a:ln w="28575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2">
            <a:extLst>
              <a:ext uri="{FF2B5EF4-FFF2-40B4-BE49-F238E27FC236}">
                <a16:creationId xmlns:a16="http://schemas.microsoft.com/office/drawing/2014/main" id="{33637400-A15E-4C56-8F72-BCFE6E8EEA6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49436" y="4042074"/>
            <a:ext cx="931964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1</a:t>
            </a:r>
          </a:p>
        </p:txBody>
      </p:sp>
      <p:sp>
        <p:nvSpPr>
          <p:cNvPr id="23" name="Textplatzhalter 22">
            <a:extLst>
              <a:ext uri="{FF2B5EF4-FFF2-40B4-BE49-F238E27FC236}">
                <a16:creationId xmlns:a16="http://schemas.microsoft.com/office/drawing/2014/main" id="{075DB4D8-3781-4155-B9C3-FF7EA894192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98866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2</a:t>
            </a:r>
          </a:p>
        </p:txBody>
      </p:sp>
      <p:sp>
        <p:nvSpPr>
          <p:cNvPr id="24" name="Textplatzhalter 22">
            <a:extLst>
              <a:ext uri="{FF2B5EF4-FFF2-40B4-BE49-F238E27FC236}">
                <a16:creationId xmlns:a16="http://schemas.microsoft.com/office/drawing/2014/main" id="{5CBAD0AB-2003-40D1-BD7B-EFD70D4A1EB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85353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3</a:t>
            </a:r>
          </a:p>
        </p:txBody>
      </p:sp>
      <p:sp>
        <p:nvSpPr>
          <p:cNvPr id="25" name="Textplatzhalter 22">
            <a:extLst>
              <a:ext uri="{FF2B5EF4-FFF2-40B4-BE49-F238E27FC236}">
                <a16:creationId xmlns:a16="http://schemas.microsoft.com/office/drawing/2014/main" id="{2EB9CF26-2A0C-4C53-B523-ED04E8CD75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718413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4</a:t>
            </a:r>
          </a:p>
        </p:txBody>
      </p:sp>
      <p:sp>
        <p:nvSpPr>
          <p:cNvPr id="26" name="Textplatzhalter 22">
            <a:extLst>
              <a:ext uri="{FF2B5EF4-FFF2-40B4-BE49-F238E27FC236}">
                <a16:creationId xmlns:a16="http://schemas.microsoft.com/office/drawing/2014/main" id="{90CA3548-5DF3-4C37-B3D2-EFEEE873902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7583288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5</a:t>
            </a:r>
          </a:p>
        </p:txBody>
      </p:sp>
      <p:sp>
        <p:nvSpPr>
          <p:cNvPr id="27" name="Textplatzhalter 22">
            <a:extLst>
              <a:ext uri="{FF2B5EF4-FFF2-40B4-BE49-F238E27FC236}">
                <a16:creationId xmlns:a16="http://schemas.microsoft.com/office/drawing/2014/main" id="{74490123-0D1D-43B2-A9CC-102804D785EB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20448161" y="4042074"/>
            <a:ext cx="983259" cy="402291"/>
          </a:xfrm>
          <a:solidFill>
            <a:schemeClr val="bg1"/>
          </a:solidFill>
        </p:spPr>
        <p:txBody>
          <a:bodyPr wrap="none" lIns="90000" tIns="46800" rIns="90000" bIns="46800" anchor="t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 b="0">
                <a:solidFill>
                  <a:srgbClr val="0F0F38"/>
                </a:solidFill>
                <a:latin typeface="Mont AS Light" panose="00000300000000000000" pitchFamily="2" charset="0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de-DE"/>
              <a:t>TEXT 6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263770BD-B86E-48FB-AEF0-07CA0484F791}"/>
              </a:ext>
            </a:extLst>
          </p:cNvPr>
          <p:cNvCxnSpPr/>
          <p:nvPr userDrawn="1"/>
        </p:nvCxnSpPr>
        <p:spPr>
          <a:xfrm>
            <a:off x="5129561" y="578733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5" name="Gerader Verbinder 34">
            <a:extLst>
              <a:ext uri="{FF2B5EF4-FFF2-40B4-BE49-F238E27FC236}">
                <a16:creationId xmlns:a16="http://schemas.microsoft.com/office/drawing/2014/main" id="{9CA0C30A-AD35-43FF-B9AB-0183CAF4F0C8}"/>
              </a:ext>
            </a:extLst>
          </p:cNvPr>
          <p:cNvCxnSpPr/>
          <p:nvPr userDrawn="1"/>
        </p:nvCxnSpPr>
        <p:spPr>
          <a:xfrm>
            <a:off x="5129561" y="7192062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Gerader Verbinder 35">
            <a:extLst>
              <a:ext uri="{FF2B5EF4-FFF2-40B4-BE49-F238E27FC236}">
                <a16:creationId xmlns:a16="http://schemas.microsoft.com/office/drawing/2014/main" id="{D523B0FB-2FED-4131-B610-165E83C76D4A}"/>
              </a:ext>
            </a:extLst>
          </p:cNvPr>
          <p:cNvCxnSpPr/>
          <p:nvPr userDrawn="1"/>
        </p:nvCxnSpPr>
        <p:spPr>
          <a:xfrm>
            <a:off x="5129561" y="8570288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Gerader Verbinder 36">
            <a:extLst>
              <a:ext uri="{FF2B5EF4-FFF2-40B4-BE49-F238E27FC236}">
                <a16:creationId xmlns:a16="http://schemas.microsoft.com/office/drawing/2014/main" id="{92454F8E-F988-4803-8765-37CB8133C8C2}"/>
              </a:ext>
            </a:extLst>
          </p:cNvPr>
          <p:cNvCxnSpPr/>
          <p:nvPr userDrawn="1"/>
        </p:nvCxnSpPr>
        <p:spPr>
          <a:xfrm>
            <a:off x="5129561" y="9988271"/>
            <a:ext cx="1697506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ounded Rectangle 2">
            <a:extLst>
              <a:ext uri="{FF2B5EF4-FFF2-40B4-BE49-F238E27FC236}">
                <a16:creationId xmlns:a16="http://schemas.microsoft.com/office/drawing/2014/main" id="{0A80A279-1B7B-4AC0-89F9-815B20A8E6D4}"/>
              </a:ext>
            </a:extLst>
          </p:cNvPr>
          <p:cNvSpPr/>
          <p:nvPr userDrawn="1"/>
        </p:nvSpPr>
        <p:spPr>
          <a:xfrm>
            <a:off x="5848115" y="55604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8" name="Rounded Rectangle 28">
            <a:extLst>
              <a:ext uri="{FF2B5EF4-FFF2-40B4-BE49-F238E27FC236}">
                <a16:creationId xmlns:a16="http://schemas.microsoft.com/office/drawing/2014/main" id="{1E5E6E15-DE77-441C-8B50-01203037AFAC}"/>
              </a:ext>
            </a:extLst>
          </p:cNvPr>
          <p:cNvSpPr/>
          <p:nvPr userDrawn="1"/>
        </p:nvSpPr>
        <p:spPr>
          <a:xfrm>
            <a:off x="11353571" y="6960541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9" name="Rounded Rectangle 31">
            <a:extLst>
              <a:ext uri="{FF2B5EF4-FFF2-40B4-BE49-F238E27FC236}">
                <a16:creationId xmlns:a16="http://schemas.microsoft.com/office/drawing/2014/main" id="{3E6B12DA-1A39-4E5D-B4FA-1A75A4309EEF}"/>
              </a:ext>
            </a:extLst>
          </p:cNvPr>
          <p:cNvSpPr/>
          <p:nvPr userDrawn="1"/>
        </p:nvSpPr>
        <p:spPr>
          <a:xfrm>
            <a:off x="8699581" y="8335625"/>
            <a:ext cx="4769473" cy="41655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0" name="Rounded Rectangle 33">
            <a:extLst>
              <a:ext uri="{FF2B5EF4-FFF2-40B4-BE49-F238E27FC236}">
                <a16:creationId xmlns:a16="http://schemas.microsoft.com/office/drawing/2014/main" id="{B9B4D638-59D4-4671-8B9A-C96242FAB64E}"/>
              </a:ext>
            </a:extLst>
          </p:cNvPr>
          <p:cNvSpPr/>
          <p:nvPr userDrawn="1"/>
        </p:nvSpPr>
        <p:spPr>
          <a:xfrm>
            <a:off x="17040691" y="5605031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1" name="Rounded Rectangle 34">
            <a:extLst>
              <a:ext uri="{FF2B5EF4-FFF2-40B4-BE49-F238E27FC236}">
                <a16:creationId xmlns:a16="http://schemas.microsoft.com/office/drawing/2014/main" id="{B29ED2FA-EC34-4A12-BE36-3947EA366246}"/>
              </a:ext>
            </a:extLst>
          </p:cNvPr>
          <p:cNvSpPr/>
          <p:nvPr userDrawn="1"/>
        </p:nvSpPr>
        <p:spPr>
          <a:xfrm>
            <a:off x="6982292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12" name="Rounded Rectangle 35">
            <a:extLst>
              <a:ext uri="{FF2B5EF4-FFF2-40B4-BE49-F238E27FC236}">
                <a16:creationId xmlns:a16="http://schemas.microsoft.com/office/drawing/2014/main" id="{907CA40D-68F3-4A54-8B29-938B83398647}"/>
              </a:ext>
            </a:extLst>
          </p:cNvPr>
          <p:cNvSpPr/>
          <p:nvPr userDrawn="1"/>
        </p:nvSpPr>
        <p:spPr>
          <a:xfrm>
            <a:off x="16996086" y="9795152"/>
            <a:ext cx="2005597" cy="420624"/>
          </a:xfrm>
          <a:prstGeom prst="roundRect">
            <a:avLst>
              <a:gd name="adj" fmla="val 33908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1400" err="1">
                <a:solidFill>
                  <a:srgbClr val="0F0F38"/>
                </a:solidFill>
                <a:latin typeface="Mont AS Light" panose="00000300000000000000" pitchFamily="2" charset="0"/>
                <a:ea typeface="Poppins" charset="0"/>
                <a:cs typeface="Poppins" charset="0"/>
              </a:rPr>
              <a:t>Platzhalter</a:t>
            </a:r>
            <a:endParaRPr lang="en-US" sz="1400">
              <a:solidFill>
                <a:srgbClr val="0F0F38"/>
              </a:solidFill>
              <a:latin typeface="Mont AS Light" panose="00000300000000000000" pitchFamily="2" charset="0"/>
              <a:ea typeface="Poppins" charset="0"/>
              <a:cs typeface="Poppins" charset="0"/>
            </a:endParaRPr>
          </a:p>
        </p:txBody>
      </p:sp>
      <p:sp>
        <p:nvSpPr>
          <p:cNvPr id="38" name="Textplatzhalter 6">
            <a:extLst>
              <a:ext uri="{FF2B5EF4-FFF2-40B4-BE49-F238E27FC236}">
                <a16:creationId xmlns:a16="http://schemas.microsoft.com/office/drawing/2014/main" id="{268851E4-9E0C-49AB-9665-C13A2FCD0FC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8157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platzhalter 21">
            <a:extLst>
              <a:ext uri="{FF2B5EF4-FFF2-40B4-BE49-F238E27FC236}">
                <a16:creationId xmlns:a16="http://schemas.microsoft.com/office/drawing/2014/main" id="{08C02DA8-42F5-4947-B0E0-0820396F4A2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1791423" y="8108513"/>
            <a:ext cx="792502" cy="433068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23" name="Textplatzhalter 13">
            <a:extLst>
              <a:ext uri="{FF2B5EF4-FFF2-40B4-BE49-F238E27FC236}">
                <a16:creationId xmlns:a16="http://schemas.microsoft.com/office/drawing/2014/main" id="{0A713350-6064-4EDD-A367-D323BC154792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1286115" y="8582726"/>
            <a:ext cx="1299051" cy="525401"/>
          </a:xfrm>
        </p:spPr>
        <p:txBody>
          <a:bodyPr wrap="none"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2</a:t>
            </a:r>
          </a:p>
        </p:txBody>
      </p:sp>
      <p:sp>
        <p:nvSpPr>
          <p:cNvPr id="18" name="Textplatzhalter 13">
            <a:extLst>
              <a:ext uri="{FF2B5EF4-FFF2-40B4-BE49-F238E27FC236}">
                <a16:creationId xmlns:a16="http://schemas.microsoft.com/office/drawing/2014/main" id="{439B6325-8D1F-4F84-9B1C-BB9D8565062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216037" y="4275684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D4AAF6AA-B74C-48E7-A450-4E38B3D5A71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7216037" y="5405194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</a:t>
            </a:r>
            <a:r>
              <a:rPr lang="en-US" err="1"/>
              <a:t>sed</a:t>
            </a:r>
            <a:r>
              <a:rPr lang="en-US"/>
              <a:t> </a:t>
            </a:r>
            <a:r>
              <a:rPr lang="en-US" err="1"/>
              <a:t>diam</a:t>
            </a:r>
            <a:r>
              <a:rPr lang="en-US"/>
              <a:t>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20" name="Textplatzhalter 13">
            <a:extLst>
              <a:ext uri="{FF2B5EF4-FFF2-40B4-BE49-F238E27FC236}">
                <a16:creationId xmlns:a16="http://schemas.microsoft.com/office/drawing/2014/main" id="{F916CFD0-BE43-4803-AB2B-9877C4F71DD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7216037" y="4756435"/>
            <a:ext cx="1302257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3</a:t>
            </a:r>
          </a:p>
        </p:txBody>
      </p:sp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2A201979-2310-4CDF-A56A-0F12382C6F6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789117" y="4269926"/>
            <a:ext cx="792502" cy="433068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200"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20xx</a:t>
            </a:r>
          </a:p>
        </p:txBody>
      </p:sp>
      <p:sp>
        <p:nvSpPr>
          <p:cNvPr id="16" name="Textplatzhalter 18">
            <a:extLst>
              <a:ext uri="{FF2B5EF4-FFF2-40B4-BE49-F238E27FC236}">
                <a16:creationId xmlns:a16="http://schemas.microsoft.com/office/drawing/2014/main" id="{47CC6189-486D-45E8-8960-DF254FF1E0C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89117" y="5399436"/>
            <a:ext cx="6098400" cy="1818063"/>
          </a:xfrm>
        </p:spPr>
        <p:txBody>
          <a:bodyPr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77D0D36D-31AD-4F46-BAEE-470E87AEA95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789117" y="4750677"/>
            <a:ext cx="1228519" cy="525401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b="0">
                <a:solidFill>
                  <a:srgbClr val="0F0F38"/>
                </a:solidFill>
                <a:latin typeface="Mont AS" panose="00000500000000000000" pitchFamily="2" charset="0"/>
                <a:cs typeface="Mont AS" panose="00000500000000000000" pitchFamily="2" charset="0"/>
              </a:defRPr>
            </a:lvl1pPr>
          </a:lstStyle>
          <a:p>
            <a:pPr lvl="0"/>
            <a:r>
              <a:rPr lang="de-DE"/>
              <a:t>STEP 1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4785BDE9-C862-451B-8491-A98640A6907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27113" y="668076"/>
            <a:ext cx="22323425" cy="465399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E4313CE2-4FE2-48AE-9C8F-0D941DD9ED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4" name="Textplatzhalter 18">
            <a:extLst>
              <a:ext uri="{FF2B5EF4-FFF2-40B4-BE49-F238E27FC236}">
                <a16:creationId xmlns:a16="http://schemas.microsoft.com/office/drawing/2014/main" id="{4C913647-E3FD-432F-907F-253AB0533FE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86766" y="9232020"/>
            <a:ext cx="6098400" cy="1818063"/>
          </a:xfrm>
        </p:spPr>
        <p:txBody>
          <a:bodyPr lIns="90000" tIns="46800" rIns="90000" bIns="46800"/>
          <a:lstStyle>
            <a:lvl1pPr algn="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  <a:latin typeface="Mont AS Light" panose="00000300000000000000" pitchFamily="2" charset="0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r>
              <a:rPr lang="en-US"/>
              <a:t> </a:t>
            </a:r>
            <a:r>
              <a:rPr lang="en-US" err="1"/>
              <a:t>sadipscing</a:t>
            </a:r>
            <a:r>
              <a:rPr lang="en-US"/>
              <a:t> </a:t>
            </a:r>
            <a:r>
              <a:rPr lang="en-US" err="1"/>
              <a:t>elitr</a:t>
            </a:r>
            <a:r>
              <a:rPr lang="en-US"/>
              <a:t>, sed diam </a:t>
            </a:r>
            <a:r>
              <a:rPr lang="en-US" err="1"/>
              <a:t>nonumy</a:t>
            </a:r>
            <a:r>
              <a:rPr lang="en-US"/>
              <a:t> </a:t>
            </a:r>
            <a:r>
              <a:rPr lang="en-US" err="1"/>
              <a:t>eir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vidunt</a:t>
            </a:r>
            <a:r>
              <a:rPr lang="en-US"/>
              <a:t> </a:t>
            </a:r>
            <a:r>
              <a:rPr lang="en-US" err="1"/>
              <a:t>ut</a:t>
            </a:r>
            <a:endParaRPr lang="en-US"/>
          </a:p>
        </p:txBody>
      </p:sp>
      <p:cxnSp>
        <p:nvCxnSpPr>
          <p:cNvPr id="13" name="Straight Connector 3">
            <a:extLst>
              <a:ext uri="{FF2B5EF4-FFF2-40B4-BE49-F238E27FC236}">
                <a16:creationId xmlns:a16="http://schemas.microsoft.com/office/drawing/2014/main" id="{F761D9D5-96D5-4C7B-8CDF-72B2E0762607}"/>
              </a:ext>
            </a:extLst>
          </p:cNvPr>
          <p:cNvCxnSpPr/>
          <p:nvPr userDrawn="1"/>
        </p:nvCxnSpPr>
        <p:spPr>
          <a:xfrm flipV="1">
            <a:off x="2994660" y="7629908"/>
            <a:ext cx="21382990" cy="0"/>
          </a:xfrm>
          <a:prstGeom prst="line">
            <a:avLst/>
          </a:prstGeom>
          <a:ln w="38100">
            <a:solidFill>
              <a:srgbClr val="0F0F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val 5">
            <a:extLst>
              <a:ext uri="{FF2B5EF4-FFF2-40B4-BE49-F238E27FC236}">
                <a16:creationId xmlns:a16="http://schemas.microsoft.com/office/drawing/2014/main" id="{866F4DE5-7C49-4753-B019-B0D14D9C4706}"/>
              </a:ext>
            </a:extLst>
          </p:cNvPr>
          <p:cNvSpPr/>
          <p:nvPr userDrawn="1"/>
        </p:nvSpPr>
        <p:spPr>
          <a:xfrm>
            <a:off x="17255017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2" name="Oval 81">
            <a:extLst>
              <a:ext uri="{FF2B5EF4-FFF2-40B4-BE49-F238E27FC236}">
                <a16:creationId xmlns:a16="http://schemas.microsoft.com/office/drawing/2014/main" id="{B23119AE-0878-4CA4-9B20-7E375FC62E3C}"/>
              </a:ext>
            </a:extLst>
          </p:cNvPr>
          <p:cNvSpPr/>
          <p:nvPr userDrawn="1"/>
        </p:nvSpPr>
        <p:spPr>
          <a:xfrm>
            <a:off x="2828098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8" name="Oval 91">
            <a:extLst>
              <a:ext uri="{FF2B5EF4-FFF2-40B4-BE49-F238E27FC236}">
                <a16:creationId xmlns:a16="http://schemas.microsoft.com/office/drawing/2014/main" id="{8DFC8E50-D1A8-407D-A580-113A40F1A139}"/>
              </a:ext>
            </a:extLst>
          </p:cNvPr>
          <p:cNvSpPr/>
          <p:nvPr userDrawn="1"/>
        </p:nvSpPr>
        <p:spPr>
          <a:xfrm>
            <a:off x="12251692" y="7512337"/>
            <a:ext cx="235142" cy="235142"/>
          </a:xfrm>
          <a:prstGeom prst="ellipse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32" name="Rectangle 25">
            <a:extLst>
              <a:ext uri="{FF2B5EF4-FFF2-40B4-BE49-F238E27FC236}">
                <a16:creationId xmlns:a16="http://schemas.microsoft.com/office/drawing/2014/main" id="{CC4BC58E-2F1B-4564-A057-3BEFB350DE4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0F0F38"/>
              </a:solidFill>
            </a:endParaRPr>
          </a:p>
        </p:txBody>
      </p:sp>
      <p:sp>
        <p:nvSpPr>
          <p:cNvPr id="26" name="Textplatzhalter 6">
            <a:extLst>
              <a:ext uri="{FF2B5EF4-FFF2-40B4-BE49-F238E27FC236}">
                <a16:creationId xmlns:a16="http://schemas.microsoft.com/office/drawing/2014/main" id="{4A85F3A3-0646-4D9F-908E-4E539E6343F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473182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C4C6C9EB-A4D7-4DF2-BB22-AD0EADAC0344}"/>
              </a:ext>
            </a:extLst>
          </p:cNvPr>
          <p:cNvSpPr/>
          <p:nvPr userDrawn="1"/>
        </p:nvSpPr>
        <p:spPr>
          <a:xfrm>
            <a:off x="10197792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5" name="Rounded Rectangle 6">
            <a:extLst>
              <a:ext uri="{FF2B5EF4-FFF2-40B4-BE49-F238E27FC236}">
                <a16:creationId xmlns:a16="http://schemas.microsoft.com/office/drawing/2014/main" id="{8E14E2EB-13BF-4916-B8E1-7C498AE76014}"/>
              </a:ext>
            </a:extLst>
          </p:cNvPr>
          <p:cNvSpPr/>
          <p:nvPr userDrawn="1"/>
        </p:nvSpPr>
        <p:spPr>
          <a:xfrm>
            <a:off x="10197792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solidFill>
                <a:srgbClr val="47CBB8"/>
              </a:solidFill>
            </a:endParaRPr>
          </a:p>
        </p:txBody>
      </p:sp>
      <p:cxnSp>
        <p:nvCxnSpPr>
          <p:cNvPr id="9" name="Straight Connector 36">
            <a:extLst>
              <a:ext uri="{FF2B5EF4-FFF2-40B4-BE49-F238E27FC236}">
                <a16:creationId xmlns:a16="http://schemas.microsoft.com/office/drawing/2014/main" id="{FB6CE347-B5C0-4433-A3AF-B2AD5F0E3E10}"/>
              </a:ext>
            </a:extLst>
          </p:cNvPr>
          <p:cNvCxnSpPr/>
          <p:nvPr userDrawn="1"/>
        </p:nvCxnSpPr>
        <p:spPr>
          <a:xfrm>
            <a:off x="11630773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ounded Rectangle 50">
            <a:extLst>
              <a:ext uri="{FF2B5EF4-FFF2-40B4-BE49-F238E27FC236}">
                <a16:creationId xmlns:a16="http://schemas.microsoft.com/office/drawing/2014/main" id="{76EDA78F-4847-46D5-994E-E4DADC5F11C8}"/>
              </a:ext>
            </a:extLst>
          </p:cNvPr>
          <p:cNvSpPr/>
          <p:nvPr userDrawn="1"/>
        </p:nvSpPr>
        <p:spPr>
          <a:xfrm>
            <a:off x="15466743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13" name="Rounded Rectangle 51">
            <a:extLst>
              <a:ext uri="{FF2B5EF4-FFF2-40B4-BE49-F238E27FC236}">
                <a16:creationId xmlns:a16="http://schemas.microsoft.com/office/drawing/2014/main" id="{49DE5037-A4C9-45D4-807A-982E5EE4675E}"/>
              </a:ext>
            </a:extLst>
          </p:cNvPr>
          <p:cNvSpPr/>
          <p:nvPr userDrawn="1"/>
        </p:nvSpPr>
        <p:spPr>
          <a:xfrm>
            <a:off x="15466743" y="10147542"/>
            <a:ext cx="4087368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16" name="Straight Connector 54">
            <a:extLst>
              <a:ext uri="{FF2B5EF4-FFF2-40B4-BE49-F238E27FC236}">
                <a16:creationId xmlns:a16="http://schemas.microsoft.com/office/drawing/2014/main" id="{45A1B128-5EB4-4758-985A-CE8A31E2CCA9}"/>
              </a:ext>
            </a:extLst>
          </p:cNvPr>
          <p:cNvCxnSpPr/>
          <p:nvPr userDrawn="1"/>
        </p:nvCxnSpPr>
        <p:spPr>
          <a:xfrm>
            <a:off x="16899722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ounded Rectangle 57">
            <a:extLst>
              <a:ext uri="{FF2B5EF4-FFF2-40B4-BE49-F238E27FC236}">
                <a16:creationId xmlns:a16="http://schemas.microsoft.com/office/drawing/2014/main" id="{73AB7485-D6DD-4704-AEBF-848B18967039}"/>
              </a:ext>
            </a:extLst>
          </p:cNvPr>
          <p:cNvSpPr/>
          <p:nvPr userDrawn="1"/>
        </p:nvSpPr>
        <p:spPr>
          <a:xfrm>
            <a:off x="5018049" y="4326673"/>
            <a:ext cx="4059044" cy="6621398"/>
          </a:xfrm>
          <a:prstGeom prst="roundRect">
            <a:avLst>
              <a:gd name="adj" fmla="val 5129"/>
            </a:avLst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/>
          </a:p>
        </p:txBody>
      </p:sp>
      <p:sp>
        <p:nvSpPr>
          <p:cNvPr id="20" name="Rounded Rectangle 58">
            <a:extLst>
              <a:ext uri="{FF2B5EF4-FFF2-40B4-BE49-F238E27FC236}">
                <a16:creationId xmlns:a16="http://schemas.microsoft.com/office/drawing/2014/main" id="{BD333349-E69A-45BD-8516-30D574A7D4B3}"/>
              </a:ext>
            </a:extLst>
          </p:cNvPr>
          <p:cNvSpPr/>
          <p:nvPr userDrawn="1"/>
        </p:nvSpPr>
        <p:spPr>
          <a:xfrm>
            <a:off x="5018049" y="10147542"/>
            <a:ext cx="4078224" cy="822833"/>
          </a:xfrm>
          <a:prstGeom prst="round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</a:pPr>
            <a:endParaRPr lang="en-US">
              <a:ea typeface="Poppins" charset="0"/>
              <a:cs typeface="Poppins" charset="0"/>
            </a:endParaRPr>
          </a:p>
        </p:txBody>
      </p:sp>
      <p:cxnSp>
        <p:nvCxnSpPr>
          <p:cNvPr id="23" name="Straight Connector 67">
            <a:extLst>
              <a:ext uri="{FF2B5EF4-FFF2-40B4-BE49-F238E27FC236}">
                <a16:creationId xmlns:a16="http://schemas.microsoft.com/office/drawing/2014/main" id="{FE5920EF-51F2-4340-A4CF-89CFED512393}"/>
              </a:ext>
            </a:extLst>
          </p:cNvPr>
          <p:cNvCxnSpPr/>
          <p:nvPr userDrawn="1"/>
        </p:nvCxnSpPr>
        <p:spPr>
          <a:xfrm>
            <a:off x="6451028" y="5676956"/>
            <a:ext cx="1194149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2" y="668077"/>
            <a:ext cx="22323425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8" name="Textplatzhalter 19">
            <a:extLst>
              <a:ext uri="{FF2B5EF4-FFF2-40B4-BE49-F238E27FC236}">
                <a16:creationId xmlns:a16="http://schemas.microsoft.com/office/drawing/2014/main" id="{E16B9F78-A23C-439C-913F-F79BA1F2125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45118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29" name="Textplatzhalter 19">
            <a:extLst>
              <a:ext uri="{FF2B5EF4-FFF2-40B4-BE49-F238E27FC236}">
                <a16:creationId xmlns:a16="http://schemas.microsoft.com/office/drawing/2014/main" id="{DA1B6A1C-9FEA-4DBE-80BD-E4BBD978EF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515271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0" name="Textplatzhalter 19">
            <a:extLst>
              <a:ext uri="{FF2B5EF4-FFF2-40B4-BE49-F238E27FC236}">
                <a16:creationId xmlns:a16="http://schemas.microsoft.com/office/drawing/2014/main" id="{BA853EBE-810B-48C8-9E00-A0DBD7AF2F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798384" y="4822364"/>
            <a:ext cx="1424086" cy="586957"/>
          </a:xfrm>
        </p:spPr>
        <p:txBody>
          <a:bodyPr wrap="none" lIns="90000" tIns="46800" rIns="90000" bIns="4680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31" name="Textplatzhalter 24">
            <a:extLst>
              <a:ext uri="{FF2B5EF4-FFF2-40B4-BE49-F238E27FC236}">
                <a16:creationId xmlns:a16="http://schemas.microsoft.com/office/drawing/2014/main" id="{FAE15918-EF3A-4BE1-BA3F-9AD4C440DB7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023576" y="8454668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2" name="Textplatzhalter 24">
            <a:extLst>
              <a:ext uri="{FF2B5EF4-FFF2-40B4-BE49-F238E27FC236}">
                <a16:creationId xmlns:a16="http://schemas.microsoft.com/office/drawing/2014/main" id="{F7718C0A-9B6F-4F65-A5BE-4D65CCD860A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8301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3" name="Textplatzhalter 24">
            <a:extLst>
              <a:ext uri="{FF2B5EF4-FFF2-40B4-BE49-F238E27FC236}">
                <a16:creationId xmlns:a16="http://schemas.microsoft.com/office/drawing/2014/main" id="{FC172EA8-596A-4A5C-9BF8-0C278BF7A38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5459916" y="8454669"/>
            <a:ext cx="4072697" cy="833178"/>
          </a:xfrm>
        </p:spPr>
        <p:txBody>
          <a:bodyPr lIns="90000" tIns="46800" rIns="90000" bIns="46800" anchor="ctr"/>
          <a:lstStyle>
            <a:lvl1pPr marL="0" indent="0"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34" name="Textplatzhalter 19">
            <a:extLst>
              <a:ext uri="{FF2B5EF4-FFF2-40B4-BE49-F238E27FC236}">
                <a16:creationId xmlns:a16="http://schemas.microsoft.com/office/drawing/2014/main" id="{D6EA57D4-C65E-4D98-9002-71592D69B45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70624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5" name="Textplatzhalter 19">
            <a:extLst>
              <a:ext uri="{FF2B5EF4-FFF2-40B4-BE49-F238E27FC236}">
                <a16:creationId xmlns:a16="http://schemas.microsoft.com/office/drawing/2014/main" id="{D8A47DFE-D5BC-470F-A401-98372943F11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1660465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6" name="Textplatzhalter 19">
            <a:extLst>
              <a:ext uri="{FF2B5EF4-FFF2-40B4-BE49-F238E27FC236}">
                <a16:creationId xmlns:a16="http://schemas.microsoft.com/office/drawing/2014/main" id="{4115FD9A-B6EE-4C33-9C30-4DC26D6CD4B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6900137" y="10270783"/>
            <a:ext cx="1148369" cy="586957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7" name="Textplatzhalter 19">
            <a:extLst>
              <a:ext uri="{FF2B5EF4-FFF2-40B4-BE49-F238E27FC236}">
                <a16:creationId xmlns:a16="http://schemas.microsoft.com/office/drawing/2014/main" id="{4F68FFD1-5AAB-481A-830C-274E9044F67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382354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8" name="Textplatzhalter 19">
            <a:extLst>
              <a:ext uri="{FF2B5EF4-FFF2-40B4-BE49-F238E27FC236}">
                <a16:creationId xmlns:a16="http://schemas.microsoft.com/office/drawing/2014/main" id="{D690EF62-E3B3-4E3D-B493-2100DF4263F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582323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39" name="Textplatzhalter 19">
            <a:extLst>
              <a:ext uri="{FF2B5EF4-FFF2-40B4-BE49-F238E27FC236}">
                <a16:creationId xmlns:a16="http://schemas.microsoft.com/office/drawing/2014/main" id="{33867146-7B9A-4738-812E-51083F5F4B6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865436" y="6002829"/>
            <a:ext cx="3289981" cy="1710341"/>
          </a:xfrm>
        </p:spPr>
        <p:txBody>
          <a:bodyPr wrap="none" lIns="90000" tIns="46800" rIns="90000" bIns="46800"/>
          <a:lstStyle>
            <a:lvl1pPr algn="ctr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05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97D38925-2B12-4A12-ACF4-3069C4CE0E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803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is Pakete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1">
            <a:extLst>
              <a:ext uri="{FF2B5EF4-FFF2-40B4-BE49-F238E27FC236}">
                <a16:creationId xmlns:a16="http://schemas.microsoft.com/office/drawing/2014/main" id="{513848AF-51D3-497B-8B70-9E79E24FFCE3}"/>
              </a:ext>
            </a:extLst>
          </p:cNvPr>
          <p:cNvSpPr/>
          <p:nvPr userDrawn="1"/>
        </p:nvSpPr>
        <p:spPr>
          <a:xfrm>
            <a:off x="11296727" y="2505063"/>
            <a:ext cx="1828800" cy="137160"/>
          </a:xfrm>
          <a:prstGeom prst="rect">
            <a:avLst/>
          </a:prstGeom>
          <a:solidFill>
            <a:srgbClr val="47CB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CD243F63-087F-419E-9A20-DB42904930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7114" y="1323505"/>
            <a:ext cx="22323424" cy="92333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rgbClr val="0F0F38"/>
                </a:solidFill>
              </a:defRPr>
            </a:lvl1pPr>
          </a:lstStyle>
          <a:p>
            <a:r>
              <a:rPr lang="de-DE"/>
              <a:t>TITEL DURCH KLICKEN BEARBEITEN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C56649C0-3B31-4E83-B448-13AFC7FDEAB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27114" y="668077"/>
            <a:ext cx="22323424" cy="465398"/>
          </a:xfrm>
        </p:spPr>
        <p:txBody>
          <a:bodyPr lIns="90000" tIns="46800" rIns="90000" bIns="46800" anchor="ctr"/>
          <a:lstStyle>
            <a:lvl1pPr algn="ctr">
              <a:lnSpc>
                <a:spcPct val="100000"/>
              </a:lnSpc>
              <a:defRPr sz="2400" spc="300" baseline="0">
                <a:solidFill>
                  <a:srgbClr val="0F0F38"/>
                </a:solidFill>
                <a:latin typeface="Mont AS" panose="00000500000000000000" pitchFamily="2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42" name="Rectangle 42">
            <a:extLst>
              <a:ext uri="{FF2B5EF4-FFF2-40B4-BE49-F238E27FC236}">
                <a16:creationId xmlns:a16="http://schemas.microsoft.com/office/drawing/2014/main" id="{94603779-496A-47A6-89EA-7BBBF4763C33}"/>
              </a:ext>
            </a:extLst>
          </p:cNvPr>
          <p:cNvSpPr/>
          <p:nvPr userDrawn="1"/>
        </p:nvSpPr>
        <p:spPr>
          <a:xfrm>
            <a:off x="14884382" y="3693661"/>
            <a:ext cx="5094000" cy="6707110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3" name="Rectangle 43">
            <a:extLst>
              <a:ext uri="{FF2B5EF4-FFF2-40B4-BE49-F238E27FC236}">
                <a16:creationId xmlns:a16="http://schemas.microsoft.com/office/drawing/2014/main" id="{89831C0D-1229-42D1-99FB-F699DF41505C}"/>
              </a:ext>
            </a:extLst>
          </p:cNvPr>
          <p:cNvSpPr/>
          <p:nvPr userDrawn="1"/>
        </p:nvSpPr>
        <p:spPr>
          <a:xfrm>
            <a:off x="9658982" y="4339992"/>
            <a:ext cx="5094000" cy="6060779"/>
          </a:xfrm>
          <a:prstGeom prst="rect">
            <a:avLst/>
          </a:prstGeom>
          <a:solidFill>
            <a:srgbClr val="47CBB8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/>
          </a:p>
        </p:txBody>
      </p:sp>
      <p:sp>
        <p:nvSpPr>
          <p:cNvPr id="47" name="Rectangle 44">
            <a:extLst>
              <a:ext uri="{FF2B5EF4-FFF2-40B4-BE49-F238E27FC236}">
                <a16:creationId xmlns:a16="http://schemas.microsoft.com/office/drawing/2014/main" id="{AEC7FDB9-6919-4250-BE06-2CB336D6BB9B}"/>
              </a:ext>
            </a:extLst>
          </p:cNvPr>
          <p:cNvSpPr/>
          <p:nvPr userDrawn="1"/>
        </p:nvSpPr>
        <p:spPr>
          <a:xfrm>
            <a:off x="4433582" y="4998634"/>
            <a:ext cx="5094000" cy="2596600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accent1"/>
              </a:solidFill>
            </a:endParaRPr>
          </a:p>
        </p:txBody>
      </p:sp>
      <p:sp>
        <p:nvSpPr>
          <p:cNvPr id="48" name="TextBox 45">
            <a:extLst>
              <a:ext uri="{FF2B5EF4-FFF2-40B4-BE49-F238E27FC236}">
                <a16:creationId xmlns:a16="http://schemas.microsoft.com/office/drawing/2014/main" id="{945C94F5-6A19-4434-BF8B-9CA9D3115634}"/>
              </a:ext>
            </a:extLst>
          </p:cNvPr>
          <p:cNvSpPr txBox="1"/>
          <p:nvPr userDrawn="1"/>
        </p:nvSpPr>
        <p:spPr>
          <a:xfrm>
            <a:off x="4433582" y="4998633"/>
            <a:ext cx="5094000" cy="646331"/>
          </a:xfrm>
          <a:prstGeom prst="rect">
            <a:avLst/>
          </a:prstGeom>
          <a:solidFill>
            <a:schemeClr val="bg1">
              <a:alpha val="2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100000"/>
              </a:lnSpc>
            </a:pPr>
            <a:endParaRPr lang="uk-UA" sz="3600" b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57" name="Rectangle 54">
            <a:extLst>
              <a:ext uri="{FF2B5EF4-FFF2-40B4-BE49-F238E27FC236}">
                <a16:creationId xmlns:a16="http://schemas.microsoft.com/office/drawing/2014/main" id="{13669852-B8EC-4EBD-A1D0-A18B1258E6AF}"/>
              </a:ext>
            </a:extLst>
          </p:cNvPr>
          <p:cNvSpPr/>
          <p:nvPr userDrawn="1"/>
        </p:nvSpPr>
        <p:spPr>
          <a:xfrm>
            <a:off x="9658982" y="4339993"/>
            <a:ext cx="5094000" cy="3265247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73" name="Rectangle 70">
            <a:extLst>
              <a:ext uri="{FF2B5EF4-FFF2-40B4-BE49-F238E27FC236}">
                <a16:creationId xmlns:a16="http://schemas.microsoft.com/office/drawing/2014/main" id="{0E94B624-A537-403B-9856-5E19F5B35D8D}"/>
              </a:ext>
            </a:extLst>
          </p:cNvPr>
          <p:cNvSpPr/>
          <p:nvPr userDrawn="1"/>
        </p:nvSpPr>
        <p:spPr>
          <a:xfrm>
            <a:off x="14884382" y="3693661"/>
            <a:ext cx="5094000" cy="3900416"/>
          </a:xfrm>
          <a:prstGeom prst="rect">
            <a:avLst/>
          </a:prstGeom>
          <a:solidFill>
            <a:schemeClr val="bg1"/>
          </a:solidFill>
          <a:ln>
            <a:solidFill>
              <a:srgbClr val="47CBB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80" name="Textplatzhalter 19">
            <a:extLst>
              <a:ext uri="{FF2B5EF4-FFF2-40B4-BE49-F238E27FC236}">
                <a16:creationId xmlns:a16="http://schemas.microsoft.com/office/drawing/2014/main" id="{C171A0BC-3A42-4565-9934-5916EA2C7B4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33577" y="4998738"/>
            <a:ext cx="5094002" cy="653823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1</a:t>
            </a:r>
          </a:p>
        </p:txBody>
      </p:sp>
      <p:sp>
        <p:nvSpPr>
          <p:cNvPr id="81" name="Textplatzhalter 19">
            <a:extLst>
              <a:ext uri="{FF2B5EF4-FFF2-40B4-BE49-F238E27FC236}">
                <a16:creationId xmlns:a16="http://schemas.microsoft.com/office/drawing/2014/main" id="{0D7F5005-9084-4293-9881-298B3F0165E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41448" y="4344810"/>
            <a:ext cx="5111534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2</a:t>
            </a:r>
          </a:p>
        </p:txBody>
      </p:sp>
      <p:sp>
        <p:nvSpPr>
          <p:cNvPr id="82" name="Textplatzhalter 19">
            <a:extLst>
              <a:ext uri="{FF2B5EF4-FFF2-40B4-BE49-F238E27FC236}">
                <a16:creationId xmlns:a16="http://schemas.microsoft.com/office/drawing/2014/main" id="{56EF6831-AB11-42F3-96CE-ED15A29C5D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4901920" y="3712516"/>
            <a:ext cx="5076462" cy="586957"/>
          </a:xfrm>
          <a:solidFill>
            <a:srgbClr val="47CBB8"/>
          </a:solidFill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ITEL3</a:t>
            </a:r>
          </a:p>
        </p:txBody>
      </p:sp>
      <p:sp>
        <p:nvSpPr>
          <p:cNvPr id="83" name="Textplatzhalter 19">
            <a:extLst>
              <a:ext uri="{FF2B5EF4-FFF2-40B4-BE49-F238E27FC236}">
                <a16:creationId xmlns:a16="http://schemas.microsoft.com/office/drawing/2014/main" id="{08628B28-3CF6-4A84-B396-B23405DFF19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430339" y="10400771"/>
            <a:ext cx="5094000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4" name="Textplatzhalter 19">
            <a:extLst>
              <a:ext uri="{FF2B5EF4-FFF2-40B4-BE49-F238E27FC236}">
                <a16:creationId xmlns:a16="http://schemas.microsoft.com/office/drawing/2014/main" id="{49C253EF-467A-4FC7-AD7E-B92B5FC66C7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650445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5" name="Textplatzhalter 19">
            <a:extLst>
              <a:ext uri="{FF2B5EF4-FFF2-40B4-BE49-F238E27FC236}">
                <a16:creationId xmlns:a16="http://schemas.microsoft.com/office/drawing/2014/main" id="{0ADEAC8F-3E98-4E43-A26E-B24186C69815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4881138" y="10400771"/>
            <a:ext cx="5093998" cy="837646"/>
          </a:xfrm>
          <a:solidFill>
            <a:schemeClr val="bg1"/>
          </a:solidFill>
          <a:ln>
            <a:solidFill>
              <a:srgbClr val="47CBB8"/>
            </a:solidFill>
          </a:ln>
        </p:spPr>
        <p:txBody>
          <a:bodyPr wrap="none" lIns="90000" tIns="46800" rIns="90000" bIns="468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3200" b="1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86" name="Textplatzhalter 24">
            <a:extLst>
              <a:ext uri="{FF2B5EF4-FFF2-40B4-BE49-F238E27FC236}">
                <a16:creationId xmlns:a16="http://schemas.microsoft.com/office/drawing/2014/main" id="{6C32D30E-EF69-43CE-8E57-70EB1138099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676518" y="7737048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88" name="Textplatzhalter 24">
            <a:extLst>
              <a:ext uri="{FF2B5EF4-FFF2-40B4-BE49-F238E27FC236}">
                <a16:creationId xmlns:a16="http://schemas.microsoft.com/office/drawing/2014/main" id="{08388944-382E-4BF1-A7AC-DBB992FACD7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451111" y="7594077"/>
            <a:ext cx="5076464" cy="2819615"/>
          </a:xfrm>
          <a:solidFill>
            <a:srgbClr val="47CBB8"/>
          </a:solidFill>
          <a:ln>
            <a:solidFill>
              <a:srgbClr val="47CBB8"/>
            </a:solidFill>
          </a:ln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0" name="Textplatzhalter 24">
            <a:extLst>
              <a:ext uri="{FF2B5EF4-FFF2-40B4-BE49-F238E27FC236}">
                <a16:creationId xmlns:a16="http://schemas.microsoft.com/office/drawing/2014/main" id="{1B7C995C-8C60-49D4-AB9A-4424FE4855A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879088" y="7594077"/>
            <a:ext cx="5076464" cy="2819615"/>
          </a:xfrm>
        </p:spPr>
        <p:txBody>
          <a:bodyPr lIns="90000" tIns="46800" rIns="90000" bIns="46800"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tetur</a:t>
            </a:r>
            <a:endParaRPr lang="en-US"/>
          </a:p>
        </p:txBody>
      </p:sp>
      <p:sp>
        <p:nvSpPr>
          <p:cNvPr id="91" name="Textplatzhalter 19">
            <a:extLst>
              <a:ext uri="{FF2B5EF4-FFF2-40B4-BE49-F238E27FC236}">
                <a16:creationId xmlns:a16="http://schemas.microsoft.com/office/drawing/2014/main" id="{B13B625D-9006-4D75-AFEB-08445C84C4E2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491829" y="6102321"/>
            <a:ext cx="2995028" cy="964714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2" name="Textplatzhalter 19">
            <a:extLst>
              <a:ext uri="{FF2B5EF4-FFF2-40B4-BE49-F238E27FC236}">
                <a16:creationId xmlns:a16="http://schemas.microsoft.com/office/drawing/2014/main" id="{50D185B2-20F0-4013-8D27-B5DF33945E9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0239487" y="5606447"/>
            <a:ext cx="3932988" cy="1266836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88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93" name="Textplatzhalter 19">
            <a:extLst>
              <a:ext uri="{FF2B5EF4-FFF2-40B4-BE49-F238E27FC236}">
                <a16:creationId xmlns:a16="http://schemas.microsoft.com/office/drawing/2014/main" id="{911D12BD-D89E-4DB4-BBC2-4C98A8A7D9B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5087057" y="5103121"/>
            <a:ext cx="4660526" cy="1501180"/>
          </a:xfrm>
        </p:spPr>
        <p:txBody>
          <a:bodyPr wrap="none" lIns="90000" tIns="46800" rIns="90000" bIns="46800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9600" b="0">
                <a:solidFill>
                  <a:srgbClr val="0F0F38"/>
                </a:solidFill>
              </a:defRPr>
            </a:lvl1pPr>
          </a:lstStyle>
          <a:p>
            <a:pPr lvl="0"/>
            <a:r>
              <a:rPr lang="de-DE"/>
              <a:t>XX.XX€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AFD18D33-3787-484E-BF9D-93D2C714EBF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27453" y="12883173"/>
            <a:ext cx="14940168" cy="257369"/>
          </a:xfrm>
        </p:spPr>
        <p:txBody>
          <a:bodyPr anchor="b" anchorCtr="0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rgbClr val="0F0F38"/>
                </a:solidFill>
                <a:latin typeface="+mn-lt"/>
              </a:defRPr>
            </a:lvl1pPr>
          </a:lstStyle>
          <a:p>
            <a:pPr lvl="0"/>
            <a:r>
              <a:rPr lang="en-US" err="1"/>
              <a:t>Quel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87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 p14:presetBounceEnd="73333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 p14:presetBounceEnd="73333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 p14:presetBounceEnd="73333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73333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73333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500" fill="hold"/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500" fill="hold"/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150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1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1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1" presetID="2" presetClass="entr" presetSubtype="1" fill="hold" grpId="0" nodeType="withEffect">
                                      <p:stCondLst>
                                        <p:cond delay="10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1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1" fill="hold" grpId="0" nodeType="withEffect">
                                      <p:stCondLst>
                                        <p:cond delay="20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1500" fill="hold"/>
                                            <p:tgtEl>
                                              <p:spTgt spid="7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2" grpId="0" animBg="1"/>
          <p:bldP spid="43" grpId="0" animBg="1"/>
          <p:bldP spid="47" grpId="0" animBg="1"/>
          <p:bldP spid="48" grpId="0" animBg="1"/>
          <p:bldP spid="57" grpId="0" animBg="1"/>
          <p:bldP spid="73" grpId="0" animBg="1"/>
        </p:bldLst>
      </p:timing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icture Placeholder 3">
            <a:extLst>
              <a:ext uri="{FF2B5EF4-FFF2-40B4-BE49-F238E27FC236}">
                <a16:creationId xmlns:a16="http://schemas.microsoft.com/office/drawing/2014/main" id="{2768E365-6B57-4D0E-9BE6-435DF2C2B6F0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-16549"/>
            <a:ext cx="24377649" cy="6444000"/>
          </a:xfrm>
          <a:solidFill>
            <a:srgbClr val="BFBFBF"/>
          </a:solidFill>
        </p:spPr>
        <p:txBody>
          <a:bodyPr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2000">
                <a:solidFill>
                  <a:schemeClr val="tx2">
                    <a:lumMod val="85000"/>
                    <a:lumOff val="1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2" name="Titel 1">
            <a:extLst>
              <a:ext uri="{FF2B5EF4-FFF2-40B4-BE49-F238E27FC236}">
                <a16:creationId xmlns:a16="http://schemas.microsoft.com/office/drawing/2014/main" id="{A4350E3D-8A7D-4F83-94E0-6CB8C2068C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6103" y="4496792"/>
            <a:ext cx="15079248" cy="2662267"/>
          </a:xfrm>
        </p:spPr>
        <p:txBody>
          <a:bodyPr anchor="b" anchorCtr="0"/>
          <a:lstStyle>
            <a:lvl1pPr algn="l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7300" b="0">
                <a:solidFill>
                  <a:schemeClr val="bg1"/>
                </a:solidFill>
                <a:latin typeface="Mont AS" panose="00000500000000000000" pitchFamily="2" charset="0"/>
              </a:defRPr>
            </a:lvl1pPr>
          </a:lstStyle>
          <a:p>
            <a:r>
              <a:rPr lang="de-DE"/>
              <a:t>KONTAKT</a:t>
            </a:r>
          </a:p>
        </p:txBody>
      </p:sp>
      <p:sp>
        <p:nvSpPr>
          <p:cNvPr id="26" name="Textplatzhalter 9">
            <a:extLst>
              <a:ext uri="{FF2B5EF4-FFF2-40B4-BE49-F238E27FC236}">
                <a16:creationId xmlns:a16="http://schemas.microsoft.com/office/drawing/2014/main" id="{9BED10D7-5582-4F04-9F95-C08C41364C31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61968" y="8043195"/>
            <a:ext cx="10134294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7" name="Textplatzhalter 10">
            <a:extLst>
              <a:ext uri="{FF2B5EF4-FFF2-40B4-BE49-F238E27FC236}">
                <a16:creationId xmlns:a16="http://schemas.microsoft.com/office/drawing/2014/main" id="{1E319ABE-A8AA-441A-85DB-96496EDBF8F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163012" y="8043195"/>
            <a:ext cx="11189246" cy="4208461"/>
          </a:xfrm>
        </p:spPr>
        <p:txBody>
          <a:bodyPr/>
          <a:lstStyle>
            <a:lvl1pPr>
              <a:defRPr>
                <a:solidFill>
                  <a:srgbClr val="0F0F38"/>
                </a:solidFill>
              </a:defRPr>
            </a:lvl1pPr>
          </a:lstStyle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Vorname Nachnam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 b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Positio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 Springer SE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Axel-Springer-Straße 65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10888 Berlin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T +49 30 2591-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</a:rPr>
              <a:t>M +49 170 00000000</a:t>
            </a:r>
          </a:p>
          <a:p>
            <a:pPr marL="358686" indent="-358686" defTabSz="36000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>
                <a:tab pos="288000" algn="l"/>
              </a:tabLst>
            </a:pPr>
            <a:r>
              <a:rPr lang="de-DE" sz="2799">
                <a:solidFill>
                  <a:schemeClr val="tx1"/>
                </a:solidFill>
                <a:latin typeface="+mn-lt"/>
                <a:ea typeface="+mn-ea"/>
                <a:cs typeface="+mn-c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orname.nachname@axelspringer.com</a:t>
            </a:r>
            <a:endParaRPr lang="de-DE" sz="2799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3AEBD3F3-CE81-42FA-9B81-A243B755A53D}"/>
              </a:ext>
            </a:extLst>
          </p:cNvPr>
          <p:cNvSpPr/>
          <p:nvPr userDrawn="1"/>
        </p:nvSpPr>
        <p:spPr>
          <a:xfrm>
            <a:off x="20788604" y="12546013"/>
            <a:ext cx="2780523" cy="7781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85FAAC9-D5BA-4D0A-A53B-4DEA28758A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20866176" y="12584771"/>
            <a:ext cx="2486081" cy="519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3138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29" Type="http://schemas.openxmlformats.org/officeDocument/2006/relationships/slideLayout" Target="../slideLayouts/slideLayout91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32" Type="http://schemas.openxmlformats.org/officeDocument/2006/relationships/image" Target="../media/image3.png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slideLayout" Target="../slideLayouts/slideLayout89.xml"/><Relationship Id="rId30" Type="http://schemas.openxmlformats.org/officeDocument/2006/relationships/slideLayout" Target="../slideLayouts/slideLayout9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7113" y="1323505"/>
            <a:ext cx="22323425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775" y="3651251"/>
            <a:ext cx="22290852" cy="5192053"/>
          </a:xfrm>
          <a:prstGeom prst="rect">
            <a:avLst/>
          </a:prstGeom>
        </p:spPr>
        <p:txBody>
          <a:bodyPr vert="horz" wrap="square" lIns="36000" tIns="36000" rIns="36000" bIns="3600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Erste</a:t>
            </a:r>
            <a:r>
              <a:rPr lang="en-US"/>
              <a:t> Ebene</a:t>
            </a:r>
          </a:p>
          <a:p>
            <a:pPr lvl="2"/>
            <a:r>
              <a:rPr lang="en-US" err="1"/>
              <a:t>Zweite</a:t>
            </a:r>
            <a:r>
              <a:rPr lang="en-US"/>
              <a:t> Ebene</a:t>
            </a:r>
          </a:p>
          <a:p>
            <a:pPr lvl="3"/>
            <a:r>
              <a:rPr lang="en-US" err="1"/>
              <a:t>Dritte</a:t>
            </a:r>
            <a:r>
              <a:rPr lang="en-US"/>
              <a:t> Ebene</a:t>
            </a:r>
          </a:p>
          <a:p>
            <a:pPr lvl="4"/>
            <a:r>
              <a:rPr lang="en-US" err="1"/>
              <a:t>Vierte</a:t>
            </a:r>
            <a:r>
              <a:rPr lang="en-US"/>
              <a:t> Ebene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607402" y="12847723"/>
            <a:ext cx="581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260E2A6B-A809-4840-BF14-8648BC0BDF87}" type="slidenum">
              <a:rPr lang="id-ID" sz="1800" b="0" i="0" smtClean="0">
                <a:solidFill>
                  <a:schemeClr val="bg1">
                    <a:lumMod val="75000"/>
                  </a:schemeClr>
                </a:solidFill>
                <a:latin typeface="Mont AS Light" panose="00000300000000000000" pitchFamily="2" charset="0"/>
                <a:ea typeface="Poppins Light" charset="0"/>
                <a:cs typeface="Poppins Light" charset="0"/>
              </a:rPr>
              <a:pPr algn="l"/>
              <a:t>‹Nr.›</a:t>
            </a:fld>
            <a:r>
              <a:rPr lang="id-ID" sz="1800" b="0" i="0">
                <a:solidFill>
                  <a:schemeClr val="tx1"/>
                </a:solidFill>
                <a:latin typeface="Arial Nova Light" panose="020B0304020202020204" pitchFamily="34" charset="0"/>
                <a:ea typeface="Poppins Light" charset="0"/>
                <a:cs typeface="Poppins Light" charset="0"/>
              </a:rPr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9D22002-C93B-4DAA-B6B6-950E3F381E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005" y="12939261"/>
            <a:ext cx="11518323" cy="16856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  <a:latin typeface="Mont AS Light" panose="00000300000000000000" pitchFamily="2" charset="0"/>
              </a:defRPr>
            </a:lvl1pPr>
          </a:lstStyle>
          <a:p>
            <a:r>
              <a:rPr lang="de-DE"/>
              <a:t>Quellen</a:t>
            </a:r>
          </a:p>
        </p:txBody>
      </p:sp>
      <p:pic>
        <p:nvPicPr>
          <p:cNvPr id="4" name="Grafik 3" descr="Ein Bild, das Screensho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691FB731-B42E-008A-319E-B61209D47DE3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22166532" y="12574085"/>
            <a:ext cx="1596171" cy="6845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927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3" r:id="rId1"/>
    <p:sldLayoutId id="2147484635" r:id="rId2"/>
    <p:sldLayoutId id="2147484652" r:id="rId3"/>
    <p:sldLayoutId id="2147484536" r:id="rId4"/>
    <p:sldLayoutId id="2147484563" r:id="rId5"/>
    <p:sldLayoutId id="2147484530" r:id="rId6"/>
    <p:sldLayoutId id="2147484650" r:id="rId7"/>
    <p:sldLayoutId id="2147484649" r:id="rId8"/>
    <p:sldLayoutId id="2147484651" r:id="rId9"/>
    <p:sldLayoutId id="2147484537" r:id="rId10"/>
    <p:sldLayoutId id="2147484538" r:id="rId11"/>
    <p:sldLayoutId id="2147484648" r:id="rId12"/>
    <p:sldLayoutId id="2147484540" r:id="rId13"/>
    <p:sldLayoutId id="2147484542" r:id="rId14"/>
    <p:sldLayoutId id="2147484545" r:id="rId15"/>
    <p:sldLayoutId id="2147484546" r:id="rId16"/>
    <p:sldLayoutId id="2147484643" r:id="rId17"/>
    <p:sldLayoutId id="2147484653" r:id="rId18"/>
    <p:sldLayoutId id="2147484547" r:id="rId19"/>
    <p:sldLayoutId id="2147484554" r:id="rId20"/>
    <p:sldLayoutId id="2147484555" r:id="rId21"/>
    <p:sldLayoutId id="2147484558" r:id="rId22"/>
    <p:sldLayoutId id="2147484557" r:id="rId23"/>
    <p:sldLayoutId id="2147484561" r:id="rId24"/>
    <p:sldLayoutId id="2147484569" r:id="rId25"/>
    <p:sldLayoutId id="2147484572" r:id="rId26"/>
    <p:sldLayoutId id="2147484573" r:id="rId27"/>
    <p:sldLayoutId id="2147484574" r:id="rId28"/>
    <p:sldLayoutId id="2147484636" r:id="rId29"/>
    <p:sldLayoutId id="2147484576" r:id="rId30"/>
  </p:sldLayoutIdLst>
  <p:hf hdr="0" dt="0"/>
  <p:txStyles>
    <p:titleStyle>
      <a:lvl1pPr algn="ctr" defTabSz="1828434" rtl="0" eaLnBrk="1" latinLnBrk="0" hangingPunct="1">
        <a:lnSpc>
          <a:spcPct val="100000"/>
        </a:lnSpc>
        <a:spcBef>
          <a:spcPct val="0"/>
        </a:spcBef>
        <a:buNone/>
        <a:defRPr lang="en-US" sz="6000" b="1" i="0" kern="1200" spc="500" dirty="0">
          <a:solidFill>
            <a:srgbClr val="0F0F38"/>
          </a:solidFill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</p:titleStyle>
    <p:bodyStyle>
      <a:lvl1pPr marL="0" indent="0" algn="just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Font typeface="Wingdings" panose="05000000000000000000" pitchFamily="2" charset="2"/>
        <a:buNone/>
        <a:defRPr lang="en-US" sz="28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  <a:lvl2pPr marL="1257117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2pPr>
      <a:lvl3pPr marL="2171334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3pPr>
      <a:lvl4pPr marL="3085551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4pPr>
      <a:lvl5pPr marL="3999768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SzPct val="110000"/>
        <a:buFont typeface="Mont AS Heavy" panose="00000900000000000000" pitchFamily="2" charset="0"/>
        <a:buChar char="~"/>
        <a:defRPr sz="2500" kern="1200">
          <a:solidFill>
            <a:schemeClr val="tx1"/>
          </a:solidFill>
          <a:latin typeface="+mj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5" userDrawn="1">
          <p15:clr>
            <a:srgbClr val="F26B43"/>
          </p15:clr>
        </p15:guide>
        <p15:guide id="2" orient="horz" pos="419" userDrawn="1">
          <p15:clr>
            <a:srgbClr val="F26B43"/>
          </p15:clr>
        </p15:guide>
        <p15:guide id="3" pos="14731" userDrawn="1">
          <p15:clr>
            <a:srgbClr val="F26B43"/>
          </p15:clr>
        </p15:guide>
        <p15:guide id="4" orient="horz" pos="714" userDrawn="1">
          <p15:clr>
            <a:srgbClr val="F26B43"/>
          </p15:clr>
        </p15:guide>
        <p15:guide id="5" orient="horz" pos="1440" userDrawn="1">
          <p15:clr>
            <a:srgbClr val="F26B43"/>
          </p15:clr>
        </p15:guide>
        <p15:guide id="6" orient="horz" pos="827" userDrawn="1">
          <p15:clr>
            <a:srgbClr val="F26B43"/>
          </p15:clr>
        </p15:guide>
        <p15:guide id="7" orient="horz" pos="8221" userDrawn="1">
          <p15:clr>
            <a:srgbClr val="F26B43"/>
          </p15:clr>
        </p15:guide>
        <p15:guide id="8" orient="horz" pos="7903" userDrawn="1">
          <p15:clr>
            <a:srgbClr val="F26B43"/>
          </p15:clr>
        </p15:guide>
        <p15:guide id="9" pos="7678" userDrawn="1">
          <p15:clr>
            <a:srgbClr val="F26B43"/>
          </p15:clr>
        </p15:guide>
        <p15:guide id="10" orient="horz" pos="2284" userDrawn="1">
          <p15:clr>
            <a:srgbClr val="F26B43"/>
          </p15:clr>
        </p15:guide>
        <p15:guide id="11" orient="horz" pos="4320" userDrawn="1">
          <p15:clr>
            <a:srgbClr val="F26B43"/>
          </p15:clr>
        </p15:guide>
        <p15:guide id="12" orient="horz" pos="76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7113" y="1323505"/>
            <a:ext cx="22323425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775" y="3651251"/>
            <a:ext cx="22290852" cy="5192053"/>
          </a:xfrm>
          <a:prstGeom prst="rect">
            <a:avLst/>
          </a:prstGeom>
        </p:spPr>
        <p:txBody>
          <a:bodyPr vert="horz" wrap="square" lIns="36000" tIns="36000" rIns="36000" bIns="3600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Erste</a:t>
            </a:r>
            <a:r>
              <a:rPr lang="en-US"/>
              <a:t> Ebene</a:t>
            </a:r>
          </a:p>
          <a:p>
            <a:pPr lvl="2"/>
            <a:r>
              <a:rPr lang="en-US" err="1"/>
              <a:t>Zweite</a:t>
            </a:r>
            <a:r>
              <a:rPr lang="en-US"/>
              <a:t> Ebene</a:t>
            </a:r>
          </a:p>
          <a:p>
            <a:pPr lvl="3"/>
            <a:r>
              <a:rPr lang="en-US" err="1"/>
              <a:t>Dritte</a:t>
            </a:r>
            <a:r>
              <a:rPr lang="en-US"/>
              <a:t> Ebene</a:t>
            </a:r>
          </a:p>
          <a:p>
            <a:pPr lvl="4"/>
            <a:r>
              <a:rPr lang="en-US" err="1"/>
              <a:t>Vierte</a:t>
            </a:r>
            <a:r>
              <a:rPr lang="en-US"/>
              <a:t> Ebene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607402" y="12847723"/>
            <a:ext cx="581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260E2A6B-A809-4840-BF14-8648BC0BDF87}" type="slidenum">
              <a:rPr lang="id-ID" sz="1800" b="0" i="0" smtClean="0">
                <a:solidFill>
                  <a:schemeClr val="bg1">
                    <a:lumMod val="75000"/>
                  </a:schemeClr>
                </a:solidFill>
                <a:latin typeface="Mont AS Light" panose="00000300000000000000" pitchFamily="2" charset="0"/>
                <a:ea typeface="Poppins Light" charset="0"/>
                <a:cs typeface="Poppins Light" charset="0"/>
              </a:rPr>
              <a:pPr algn="l"/>
              <a:t>‹Nr.›</a:t>
            </a:fld>
            <a:r>
              <a:rPr lang="id-ID" sz="1800" b="0" i="0">
                <a:solidFill>
                  <a:schemeClr val="tx1"/>
                </a:solidFill>
                <a:latin typeface="Arial Nova Light" panose="020B0304020202020204" pitchFamily="34" charset="0"/>
                <a:ea typeface="Poppins Light" charset="0"/>
                <a:cs typeface="Poppins Light" charset="0"/>
              </a:rPr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9D22002-C93B-4DAA-B6B6-950E3F381E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005" y="12939261"/>
            <a:ext cx="11518323" cy="16856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  <a:latin typeface="Mont AS Light" panose="00000300000000000000" pitchFamily="2" charset="0"/>
              </a:defRPr>
            </a:lvl1pPr>
          </a:lstStyle>
          <a:p>
            <a:r>
              <a:rPr lang="de-DE"/>
              <a:t>Quellen</a:t>
            </a:r>
          </a:p>
        </p:txBody>
      </p:sp>
      <p:pic>
        <p:nvPicPr>
          <p:cNvPr id="4" name="Grafik 3" descr="Ein Bild, das Screenshot, Schrift, Grafiken, Grafikdesign enthält.&#10;&#10;Automatisch generierte Beschreibung">
            <a:extLst>
              <a:ext uri="{FF2B5EF4-FFF2-40B4-BE49-F238E27FC236}">
                <a16:creationId xmlns:a16="http://schemas.microsoft.com/office/drawing/2014/main" id="{333B86A3-F0FC-24DC-ECF9-DCAF41E8614A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21664020" y="12459339"/>
            <a:ext cx="1725718" cy="740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5912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6" r:id="rId1"/>
    <p:sldLayoutId id="2147484657" r:id="rId2"/>
    <p:sldLayoutId id="2147484658" r:id="rId3"/>
    <p:sldLayoutId id="2147484659" r:id="rId4"/>
    <p:sldLayoutId id="2147484660" r:id="rId5"/>
    <p:sldLayoutId id="2147484661" r:id="rId6"/>
    <p:sldLayoutId id="2147484662" r:id="rId7"/>
    <p:sldLayoutId id="2147484663" r:id="rId8"/>
    <p:sldLayoutId id="2147484664" r:id="rId9"/>
    <p:sldLayoutId id="2147484665" r:id="rId10"/>
    <p:sldLayoutId id="2147484666" r:id="rId11"/>
    <p:sldLayoutId id="2147484667" r:id="rId12"/>
    <p:sldLayoutId id="2147484668" r:id="rId13"/>
    <p:sldLayoutId id="2147484669" r:id="rId14"/>
    <p:sldLayoutId id="2147484670" r:id="rId15"/>
    <p:sldLayoutId id="2147484671" r:id="rId16"/>
    <p:sldLayoutId id="2147484672" r:id="rId17"/>
    <p:sldLayoutId id="2147484673" r:id="rId18"/>
    <p:sldLayoutId id="2147484674" r:id="rId19"/>
    <p:sldLayoutId id="2147484675" r:id="rId20"/>
    <p:sldLayoutId id="2147484676" r:id="rId21"/>
    <p:sldLayoutId id="2147484677" r:id="rId22"/>
    <p:sldLayoutId id="2147484678" r:id="rId23"/>
    <p:sldLayoutId id="2147484679" r:id="rId24"/>
    <p:sldLayoutId id="2147484680" r:id="rId25"/>
    <p:sldLayoutId id="2147484681" r:id="rId26"/>
    <p:sldLayoutId id="2147484682" r:id="rId27"/>
    <p:sldLayoutId id="2147484683" r:id="rId28"/>
    <p:sldLayoutId id="2147484684" r:id="rId29"/>
    <p:sldLayoutId id="2147484685" r:id="rId30"/>
  </p:sldLayoutIdLst>
  <p:hf hdr="0" dt="0"/>
  <p:txStyles>
    <p:titleStyle>
      <a:lvl1pPr algn="ctr" defTabSz="1828434" rtl="0" eaLnBrk="1" latinLnBrk="0" hangingPunct="1">
        <a:lnSpc>
          <a:spcPct val="100000"/>
        </a:lnSpc>
        <a:spcBef>
          <a:spcPct val="0"/>
        </a:spcBef>
        <a:buNone/>
        <a:defRPr lang="en-US" sz="6000" b="1" i="0" kern="1200" spc="500" dirty="0">
          <a:solidFill>
            <a:srgbClr val="0F0F38"/>
          </a:solidFill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</p:titleStyle>
    <p:bodyStyle>
      <a:lvl1pPr marL="0" indent="0" algn="just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Font typeface="Wingdings" panose="05000000000000000000" pitchFamily="2" charset="2"/>
        <a:buNone/>
        <a:defRPr lang="en-US" sz="28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  <a:lvl2pPr marL="1257117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2pPr>
      <a:lvl3pPr marL="2171334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3pPr>
      <a:lvl4pPr marL="3085551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4pPr>
      <a:lvl5pPr marL="3999768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SzPct val="110000"/>
        <a:buFont typeface="Mont AS Heavy" panose="00000900000000000000" pitchFamily="2" charset="0"/>
        <a:buChar char="~"/>
        <a:defRPr sz="2500" kern="1200">
          <a:solidFill>
            <a:schemeClr val="tx1"/>
          </a:solidFill>
          <a:latin typeface="+mj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5">
          <p15:clr>
            <a:srgbClr val="F26B43"/>
          </p15:clr>
        </p15:guide>
        <p15:guide id="2" orient="horz" pos="419">
          <p15:clr>
            <a:srgbClr val="F26B43"/>
          </p15:clr>
        </p15:guide>
        <p15:guide id="3" pos="14731">
          <p15:clr>
            <a:srgbClr val="F26B43"/>
          </p15:clr>
        </p15:guide>
        <p15:guide id="4" orient="horz" pos="714">
          <p15:clr>
            <a:srgbClr val="F26B43"/>
          </p15:clr>
        </p15:guide>
        <p15:guide id="5" orient="horz" pos="1440">
          <p15:clr>
            <a:srgbClr val="F26B43"/>
          </p15:clr>
        </p15:guide>
        <p15:guide id="6" orient="horz" pos="827">
          <p15:clr>
            <a:srgbClr val="F26B43"/>
          </p15:clr>
        </p15:guide>
        <p15:guide id="7" orient="horz" pos="8221">
          <p15:clr>
            <a:srgbClr val="F26B43"/>
          </p15:clr>
        </p15:guide>
        <p15:guide id="8" orient="horz" pos="7903">
          <p15:clr>
            <a:srgbClr val="F26B43"/>
          </p15:clr>
        </p15:guide>
        <p15:guide id="9" pos="7678">
          <p15:clr>
            <a:srgbClr val="F26B43"/>
          </p15:clr>
        </p15:guide>
        <p15:guide id="10" orient="horz" pos="2284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 pos="76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57068F8-D49D-127A-4EC8-5A9F718886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229951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01" imgH="500" progId="TCLayout.ActiveDocument.1">
                  <p:embed/>
                </p:oleObj>
              </mc:Choice>
              <mc:Fallback>
                <p:oleObj name="think-cell Folie" r:id="rId5" imgW="501" imgH="50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57068F8-D49D-127A-4EC8-5A9F718886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7113" y="1323505"/>
            <a:ext cx="22323425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775" y="3651251"/>
            <a:ext cx="22290852" cy="5192053"/>
          </a:xfrm>
          <a:prstGeom prst="rect">
            <a:avLst/>
          </a:prstGeom>
        </p:spPr>
        <p:txBody>
          <a:bodyPr vert="horz" wrap="square" lIns="36000" tIns="36000" rIns="36000" bIns="3600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Erste</a:t>
            </a:r>
            <a:r>
              <a:rPr lang="en-US"/>
              <a:t> Ebene</a:t>
            </a:r>
          </a:p>
          <a:p>
            <a:pPr lvl="2"/>
            <a:r>
              <a:rPr lang="en-US" err="1"/>
              <a:t>Zweite</a:t>
            </a:r>
            <a:r>
              <a:rPr lang="en-US"/>
              <a:t> Ebene</a:t>
            </a:r>
          </a:p>
          <a:p>
            <a:pPr lvl="3"/>
            <a:r>
              <a:rPr lang="en-US" err="1"/>
              <a:t>Dritte</a:t>
            </a:r>
            <a:r>
              <a:rPr lang="en-US"/>
              <a:t> Ebene</a:t>
            </a:r>
          </a:p>
          <a:p>
            <a:pPr lvl="4"/>
            <a:r>
              <a:rPr lang="en-US" err="1"/>
              <a:t>Vierte</a:t>
            </a:r>
            <a:r>
              <a:rPr lang="en-US"/>
              <a:t> Ebene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360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7" r:id="rId1"/>
    <p:sldLayoutId id="2147484689" r:id="rId2"/>
  </p:sldLayoutIdLst>
  <p:hf hdr="0" dt="0"/>
  <p:txStyles>
    <p:titleStyle>
      <a:lvl1pPr algn="ctr" defTabSz="1828434" rtl="0" eaLnBrk="1" latinLnBrk="0" hangingPunct="1">
        <a:lnSpc>
          <a:spcPct val="100000"/>
        </a:lnSpc>
        <a:spcBef>
          <a:spcPct val="0"/>
        </a:spcBef>
        <a:buNone/>
        <a:defRPr lang="en-US" sz="6000" b="1" i="0" kern="1200" spc="500" dirty="0">
          <a:solidFill>
            <a:schemeClr val="tx2"/>
          </a:solidFill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</p:titleStyle>
    <p:bodyStyle>
      <a:lvl1pPr marL="0" indent="0" algn="just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C00000"/>
        </a:buClr>
        <a:buFont typeface="Wingdings" panose="05000000000000000000" pitchFamily="2" charset="2"/>
        <a:buNone/>
        <a:defRPr lang="en-US" sz="2800" b="0" i="0" kern="1200" dirty="0" smtClean="0">
          <a:solidFill>
            <a:schemeClr val="tx2">
              <a:lumMod val="85000"/>
              <a:lumOff val="15000"/>
            </a:schemeClr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  <a:lvl2pPr marL="1257117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chemeClr val="accent1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chemeClr val="tx2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2pPr>
      <a:lvl3pPr marL="2171334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chemeClr val="accent1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chemeClr val="tx2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3pPr>
      <a:lvl4pPr marL="3085551" indent="-342900" algn="l" defTabSz="1828434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chemeClr val="tx1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4pPr>
      <a:lvl5pPr marL="3999768" indent="-342900" algn="l" defTabSz="1828434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SzPct val="110000"/>
        <a:buFont typeface="Mont AS Heavy" panose="00000900000000000000" pitchFamily="2" charset="0"/>
        <a:buChar char="~"/>
        <a:defRPr lang="en-US" sz="2500" b="0" i="0" kern="1200" dirty="0">
          <a:solidFill>
            <a:schemeClr val="tx1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SzPct val="110000"/>
        <a:buFont typeface="Mont AS Heavy" panose="00000900000000000000" pitchFamily="2" charset="0"/>
        <a:buChar char="~"/>
        <a:defRPr sz="2500" kern="1200">
          <a:solidFill>
            <a:schemeClr val="tx1"/>
          </a:solidFill>
          <a:latin typeface="+mj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5">
          <p15:clr>
            <a:srgbClr val="F26B43"/>
          </p15:clr>
        </p15:guide>
        <p15:guide id="2" orient="horz" pos="419">
          <p15:clr>
            <a:srgbClr val="F26B43"/>
          </p15:clr>
        </p15:guide>
        <p15:guide id="3" pos="14731">
          <p15:clr>
            <a:srgbClr val="F26B43"/>
          </p15:clr>
        </p15:guide>
        <p15:guide id="4" orient="horz" pos="714">
          <p15:clr>
            <a:srgbClr val="F26B43"/>
          </p15:clr>
        </p15:guide>
        <p15:guide id="5" orient="horz" pos="1440">
          <p15:clr>
            <a:srgbClr val="F26B43"/>
          </p15:clr>
        </p15:guide>
        <p15:guide id="6" orient="horz" pos="827">
          <p15:clr>
            <a:srgbClr val="F26B43"/>
          </p15:clr>
        </p15:guide>
        <p15:guide id="7" orient="horz" pos="8221">
          <p15:clr>
            <a:srgbClr val="F26B43"/>
          </p15:clr>
        </p15:guide>
        <p15:guide id="8" orient="horz" pos="7903">
          <p15:clr>
            <a:srgbClr val="F26B43"/>
          </p15:clr>
        </p15:guide>
        <p15:guide id="9" pos="7678">
          <p15:clr>
            <a:srgbClr val="F26B43"/>
          </p15:clr>
        </p15:guide>
        <p15:guide id="10" orient="horz" pos="2284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 pos="76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27113" y="1323505"/>
            <a:ext cx="22323425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775" y="3651251"/>
            <a:ext cx="22290852" cy="5192053"/>
          </a:xfrm>
          <a:prstGeom prst="rect">
            <a:avLst/>
          </a:prstGeom>
        </p:spPr>
        <p:txBody>
          <a:bodyPr vert="horz" wrap="square" lIns="36000" tIns="36000" rIns="36000" bIns="3600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err="1"/>
              <a:t>Erste</a:t>
            </a:r>
            <a:r>
              <a:rPr lang="en-US"/>
              <a:t> Ebene</a:t>
            </a:r>
          </a:p>
          <a:p>
            <a:pPr lvl="2"/>
            <a:r>
              <a:rPr lang="en-US" err="1"/>
              <a:t>Zweite</a:t>
            </a:r>
            <a:r>
              <a:rPr lang="en-US"/>
              <a:t> Ebene</a:t>
            </a:r>
          </a:p>
          <a:p>
            <a:pPr lvl="3"/>
            <a:r>
              <a:rPr lang="en-US" err="1"/>
              <a:t>Dritte</a:t>
            </a:r>
            <a:r>
              <a:rPr lang="en-US"/>
              <a:t> Ebene</a:t>
            </a:r>
          </a:p>
          <a:p>
            <a:pPr lvl="4"/>
            <a:r>
              <a:rPr lang="en-US" err="1"/>
              <a:t>Vierte</a:t>
            </a:r>
            <a:r>
              <a:rPr lang="en-US"/>
              <a:t> Ebene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0"/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607402" y="12847723"/>
            <a:ext cx="58189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260E2A6B-A809-4840-BF14-8648BC0BDF87}" type="slidenum">
              <a:rPr lang="id-ID" sz="1800" b="0" i="0" smtClean="0">
                <a:solidFill>
                  <a:schemeClr val="bg1">
                    <a:lumMod val="75000"/>
                  </a:schemeClr>
                </a:solidFill>
                <a:latin typeface="Mont AS Light" panose="00000300000000000000" pitchFamily="2" charset="0"/>
                <a:ea typeface="Poppins Light" charset="0"/>
                <a:cs typeface="Poppins Light" charset="0"/>
              </a:rPr>
              <a:pPr algn="l"/>
              <a:t>‹Nr.›</a:t>
            </a:fld>
            <a:r>
              <a:rPr lang="id-ID" sz="1800" b="0" i="0">
                <a:solidFill>
                  <a:schemeClr val="tx1"/>
                </a:solidFill>
                <a:latin typeface="Arial Nova Light" panose="020B0304020202020204" pitchFamily="34" charset="0"/>
                <a:ea typeface="Poppins Light" charset="0"/>
                <a:cs typeface="Poppins Light" charset="0"/>
              </a:rPr>
              <a:t>  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D9D22002-C93B-4DAA-B6B6-950E3F381E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3005" y="12939261"/>
            <a:ext cx="11518323" cy="16856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0">
                <a:solidFill>
                  <a:schemeClr val="tx1"/>
                </a:solidFill>
                <a:latin typeface="Mont AS Light" panose="00000300000000000000" pitchFamily="2" charset="0"/>
              </a:defRPr>
            </a:lvl1pPr>
          </a:lstStyle>
          <a:p>
            <a:r>
              <a:rPr lang="de-DE"/>
              <a:t>Quell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89E52F-EDAA-426B-A482-D065C857CE01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rcRect/>
          <a:stretch/>
        </p:blipFill>
        <p:spPr>
          <a:xfrm>
            <a:off x="20866176" y="12584771"/>
            <a:ext cx="2486081" cy="519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105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1" r:id="rId1"/>
    <p:sldLayoutId id="2147484692" r:id="rId2"/>
    <p:sldLayoutId id="2147484693" r:id="rId3"/>
    <p:sldLayoutId id="2147484694" r:id="rId4"/>
    <p:sldLayoutId id="2147484695" r:id="rId5"/>
    <p:sldLayoutId id="2147484696" r:id="rId6"/>
    <p:sldLayoutId id="2147484697" r:id="rId7"/>
    <p:sldLayoutId id="2147484698" r:id="rId8"/>
    <p:sldLayoutId id="2147484699" r:id="rId9"/>
    <p:sldLayoutId id="2147484700" r:id="rId10"/>
    <p:sldLayoutId id="2147484701" r:id="rId11"/>
    <p:sldLayoutId id="2147484702" r:id="rId12"/>
    <p:sldLayoutId id="2147484703" r:id="rId13"/>
    <p:sldLayoutId id="2147484704" r:id="rId14"/>
    <p:sldLayoutId id="2147484705" r:id="rId15"/>
    <p:sldLayoutId id="2147484706" r:id="rId16"/>
    <p:sldLayoutId id="2147484707" r:id="rId17"/>
    <p:sldLayoutId id="2147484708" r:id="rId18"/>
    <p:sldLayoutId id="2147484709" r:id="rId19"/>
    <p:sldLayoutId id="2147484710" r:id="rId20"/>
    <p:sldLayoutId id="2147484711" r:id="rId21"/>
    <p:sldLayoutId id="2147484712" r:id="rId22"/>
    <p:sldLayoutId id="2147484713" r:id="rId23"/>
    <p:sldLayoutId id="2147484714" r:id="rId24"/>
    <p:sldLayoutId id="2147484715" r:id="rId25"/>
    <p:sldLayoutId id="2147484716" r:id="rId26"/>
    <p:sldLayoutId id="2147484717" r:id="rId27"/>
    <p:sldLayoutId id="2147484718" r:id="rId28"/>
    <p:sldLayoutId id="2147484719" r:id="rId29"/>
    <p:sldLayoutId id="2147484720" r:id="rId30"/>
  </p:sldLayoutIdLst>
  <p:hf hdr="0" dt="0"/>
  <p:txStyles>
    <p:titleStyle>
      <a:lvl1pPr algn="ctr" defTabSz="1828434" rtl="0" eaLnBrk="1" latinLnBrk="0" hangingPunct="1">
        <a:lnSpc>
          <a:spcPct val="100000"/>
        </a:lnSpc>
        <a:spcBef>
          <a:spcPct val="0"/>
        </a:spcBef>
        <a:buNone/>
        <a:defRPr lang="en-US" sz="6000" b="1" i="0" kern="1200" spc="500" dirty="0">
          <a:solidFill>
            <a:srgbClr val="0F0F38"/>
          </a:solidFill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</p:titleStyle>
    <p:bodyStyle>
      <a:lvl1pPr marL="0" indent="0" algn="just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Font typeface="Wingdings" panose="05000000000000000000" pitchFamily="2" charset="2"/>
        <a:buNone/>
        <a:defRPr lang="en-US" sz="28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1pPr>
      <a:lvl2pPr marL="1257117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2pPr>
      <a:lvl3pPr marL="2171334" indent="-342900" algn="l" defTabSz="1828434" rtl="0" eaLnBrk="1" latinLnBrk="0" hangingPunct="1">
        <a:lnSpc>
          <a:spcPct val="100000"/>
        </a:lnSpc>
        <a:spcBef>
          <a:spcPts val="600"/>
        </a:spcBef>
        <a:spcAft>
          <a:spcPts val="1200"/>
        </a:spcAft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Mont AS" panose="00000500000000000000" pitchFamily="2" charset="0"/>
          <a:ea typeface="Mont AS" panose="00000500000000000000" pitchFamily="2" charset="0"/>
          <a:cs typeface="Mont AS" panose="00000500000000000000" pitchFamily="2" charset="0"/>
        </a:defRPr>
      </a:lvl3pPr>
      <a:lvl4pPr marL="3085551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 smtClean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4pPr>
      <a:lvl5pPr marL="3999768" indent="-342900" algn="l" defTabSz="1828434" rtl="0" eaLnBrk="1" latinLnBrk="0" hangingPunct="1">
        <a:lnSpc>
          <a:spcPct val="90000"/>
        </a:lnSpc>
        <a:spcBef>
          <a:spcPts val="1000"/>
        </a:spcBef>
        <a:buClr>
          <a:srgbClr val="47CBB8"/>
        </a:buClr>
        <a:buSzPct val="110000"/>
        <a:buFont typeface="Mont AS Heavy" panose="00000900000000000000" pitchFamily="2" charset="0"/>
        <a:buChar char="~"/>
        <a:defRPr lang="en-US" sz="2500" b="0" i="0" kern="1200" dirty="0">
          <a:solidFill>
            <a:srgbClr val="0F0F38"/>
          </a:solidFill>
          <a:effectLst/>
          <a:latin typeface="+mj-lt"/>
          <a:ea typeface="Arial Nova Light" panose="020B0304020202020204" pitchFamily="34" charset="0"/>
          <a:cs typeface="Arial Nova Light" panose="020B0304020202020204" pitchFamily="34" charset="0"/>
        </a:defRPr>
      </a:lvl5pPr>
      <a:lvl6pPr marL="5028194" indent="-457109" algn="l" defTabSz="1828434" rtl="0" eaLnBrk="1" latinLnBrk="0" hangingPunct="1">
        <a:lnSpc>
          <a:spcPct val="90000"/>
        </a:lnSpc>
        <a:spcBef>
          <a:spcPts val="1000"/>
        </a:spcBef>
        <a:buClr>
          <a:schemeClr val="accent3"/>
        </a:buClr>
        <a:buSzPct val="110000"/>
        <a:buFont typeface="Mont AS Heavy" panose="00000900000000000000" pitchFamily="2" charset="0"/>
        <a:buChar char="~"/>
        <a:defRPr sz="2500" kern="1200">
          <a:solidFill>
            <a:schemeClr val="tx1"/>
          </a:solidFill>
          <a:latin typeface="+mj-lt"/>
          <a:ea typeface="+mn-ea"/>
          <a:cs typeface="+mn-cs"/>
        </a:defRPr>
      </a:lvl6pPr>
      <a:lvl7pPr marL="5942411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6628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0846" indent="-457109" algn="l" defTabSz="182843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21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434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651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6868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086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303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399520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3737" algn="l" defTabSz="1828434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5">
          <p15:clr>
            <a:srgbClr val="F26B43"/>
          </p15:clr>
        </p15:guide>
        <p15:guide id="2" orient="horz" pos="419">
          <p15:clr>
            <a:srgbClr val="F26B43"/>
          </p15:clr>
        </p15:guide>
        <p15:guide id="3" pos="14731">
          <p15:clr>
            <a:srgbClr val="F26B43"/>
          </p15:clr>
        </p15:guide>
        <p15:guide id="4" orient="horz" pos="714">
          <p15:clr>
            <a:srgbClr val="F26B43"/>
          </p15:clr>
        </p15:guide>
        <p15:guide id="5" orient="horz" pos="1440">
          <p15:clr>
            <a:srgbClr val="F26B43"/>
          </p15:clr>
        </p15:guide>
        <p15:guide id="6" orient="horz" pos="827">
          <p15:clr>
            <a:srgbClr val="F26B43"/>
          </p15:clr>
        </p15:guide>
        <p15:guide id="7" orient="horz" pos="8221">
          <p15:clr>
            <a:srgbClr val="F26B43"/>
          </p15:clr>
        </p15:guide>
        <p15:guide id="8" orient="horz" pos="7903">
          <p15:clr>
            <a:srgbClr val="F26B43"/>
          </p15:clr>
        </p15:guide>
        <p15:guide id="9" pos="7678">
          <p15:clr>
            <a:srgbClr val="F26B43"/>
          </p15:clr>
        </p15:guide>
        <p15:guide id="10" orient="horz" pos="2284">
          <p15:clr>
            <a:srgbClr val="F26B43"/>
          </p15:clr>
        </p15:guide>
        <p15:guide id="11" orient="horz" pos="4320">
          <p15:clr>
            <a:srgbClr val="F26B43"/>
          </p15:clr>
        </p15:guide>
        <p15:guide id="12" orient="horz" pos="76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18" Type="http://schemas.openxmlformats.org/officeDocument/2006/relationships/image" Target="../media/image19.png"/><Relationship Id="rId26" Type="http://schemas.openxmlformats.org/officeDocument/2006/relationships/image" Target="../media/image27.svg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2.svg"/><Relationship Id="rId7" Type="http://schemas.openxmlformats.org/officeDocument/2006/relationships/image" Target="../media/image8.jpeg"/><Relationship Id="rId12" Type="http://schemas.openxmlformats.org/officeDocument/2006/relationships/image" Target="../media/image13.png"/><Relationship Id="rId17" Type="http://schemas.openxmlformats.org/officeDocument/2006/relationships/image" Target="../media/image18.svg"/><Relationship Id="rId25" Type="http://schemas.openxmlformats.org/officeDocument/2006/relationships/image" Target="../media/image26.png"/><Relationship Id="rId2" Type="http://schemas.openxmlformats.org/officeDocument/2006/relationships/video" Target="../media/media1.mp4"/><Relationship Id="rId16" Type="http://schemas.openxmlformats.org/officeDocument/2006/relationships/image" Target="../media/image17.png"/><Relationship Id="rId20" Type="http://schemas.openxmlformats.org/officeDocument/2006/relationships/image" Target="../media/image21.png"/><Relationship Id="rId29" Type="http://schemas.openxmlformats.org/officeDocument/2006/relationships/image" Target="../media/image30.jpeg"/><Relationship Id="rId1" Type="http://schemas.microsoft.com/office/2007/relationships/media" Target="../media/media1.mp4"/><Relationship Id="rId6" Type="http://schemas.openxmlformats.org/officeDocument/2006/relationships/image" Target="../media/image7.png"/><Relationship Id="rId11" Type="http://schemas.openxmlformats.org/officeDocument/2006/relationships/image" Target="../media/image12.svg"/><Relationship Id="rId24" Type="http://schemas.openxmlformats.org/officeDocument/2006/relationships/image" Target="../media/image25.png"/><Relationship Id="rId5" Type="http://schemas.openxmlformats.org/officeDocument/2006/relationships/image" Target="../media/image6.png"/><Relationship Id="rId15" Type="http://schemas.openxmlformats.org/officeDocument/2006/relationships/image" Target="../media/image16.svg"/><Relationship Id="rId23" Type="http://schemas.openxmlformats.org/officeDocument/2006/relationships/image" Target="../media/image24.svg"/><Relationship Id="rId28" Type="http://schemas.openxmlformats.org/officeDocument/2006/relationships/image" Target="../media/image29.svg"/><Relationship Id="rId10" Type="http://schemas.openxmlformats.org/officeDocument/2006/relationships/image" Target="../media/image11.png"/><Relationship Id="rId19" Type="http://schemas.openxmlformats.org/officeDocument/2006/relationships/image" Target="../media/image20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0.svg"/><Relationship Id="rId14" Type="http://schemas.openxmlformats.org/officeDocument/2006/relationships/image" Target="../media/image15.png"/><Relationship Id="rId22" Type="http://schemas.openxmlformats.org/officeDocument/2006/relationships/image" Target="../media/image23.png"/><Relationship Id="rId27" Type="http://schemas.openxmlformats.org/officeDocument/2006/relationships/image" Target="../media/image28.png"/><Relationship Id="rId30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" name="Grafik 80">
            <a:extLst>
              <a:ext uri="{FF2B5EF4-FFF2-40B4-BE49-F238E27FC236}">
                <a16:creationId xmlns:a16="http://schemas.microsoft.com/office/drawing/2014/main" id="{C63DD2D8-3C60-D8A1-38FE-5152B02253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7460" t="-44840" r="30318" b="84926"/>
          <a:stretch/>
        </p:blipFill>
        <p:spPr>
          <a:xfrm>
            <a:off x="-1" y="26655"/>
            <a:ext cx="24377650" cy="13716001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E791431D-1FF4-6D72-8B5C-0B71EBFA3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7114" y="1259164"/>
            <a:ext cx="22323424" cy="1052014"/>
          </a:xfrm>
        </p:spPr>
        <p:txBody>
          <a:bodyPr/>
          <a:lstStyle/>
          <a:p>
            <a:r>
              <a:rPr lang="de-DE" sz="6600">
                <a:solidFill>
                  <a:srgbClr val="0F0F38"/>
                </a:solidFill>
                <a:latin typeface="Mont AS Heavy"/>
              </a:rPr>
              <a:t>HERO AREA - TOUCHPOINT</a:t>
            </a:r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A2E7BD-62AC-6ABC-4425-4DF3C36084B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>
                <a:solidFill>
                  <a:schemeClr val="tx1"/>
                </a:solidFill>
              </a:rPr>
              <a:t>DIGITAL OUT OF HOME</a:t>
            </a:r>
          </a:p>
        </p:txBody>
      </p: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EAB78B9E-A530-EC04-BA04-AA9A50587732}"/>
              </a:ext>
            </a:extLst>
          </p:cNvPr>
          <p:cNvSpPr txBox="1">
            <a:spLocks/>
          </p:cNvSpPr>
          <p:nvPr/>
        </p:nvSpPr>
        <p:spPr>
          <a:xfrm>
            <a:off x="2210362" y="12675443"/>
            <a:ext cx="18465746" cy="626701"/>
          </a:xfrm>
          <a:prstGeom prst="rect">
            <a:avLst/>
          </a:prstGeom>
        </p:spPr>
        <p:txBody>
          <a:bodyPr/>
          <a:lstStyle>
            <a:lvl1pPr marL="0" indent="0" algn="just" defTabSz="1828434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47CBB8"/>
              </a:buClr>
              <a:buFont typeface="Wingdings" panose="05000000000000000000" pitchFamily="2" charset="2"/>
              <a:buNone/>
              <a:defRPr lang="en-US" sz="2800" b="0" i="0" kern="1200" dirty="0" smtClean="0">
                <a:solidFill>
                  <a:srgbClr val="0F0F38"/>
                </a:solidFill>
                <a:effectLst/>
                <a:latin typeface="Mont AS" panose="00000500000000000000" pitchFamily="2" charset="0"/>
                <a:ea typeface="Mont AS" panose="00000500000000000000" pitchFamily="2" charset="0"/>
                <a:cs typeface="Mont AS" panose="00000500000000000000" pitchFamily="2" charset="0"/>
              </a:defRPr>
            </a:lvl1pPr>
            <a:lvl2pPr marL="1257117" indent="-342900" algn="l" defTabSz="1828434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47CBB8"/>
              </a:buClr>
              <a:buSzPct val="110000"/>
              <a:buFont typeface="Mont AS Heavy" panose="00000900000000000000" pitchFamily="2" charset="0"/>
              <a:buChar char="~"/>
              <a:defRPr lang="en-US" sz="2500" b="0" i="0" kern="1200" dirty="0" smtClean="0">
                <a:solidFill>
                  <a:srgbClr val="0F0F38"/>
                </a:solidFill>
                <a:effectLst/>
                <a:latin typeface="Mont AS" panose="00000500000000000000" pitchFamily="2" charset="0"/>
                <a:ea typeface="Mont AS" panose="00000500000000000000" pitchFamily="2" charset="0"/>
                <a:cs typeface="Mont AS" panose="00000500000000000000" pitchFamily="2" charset="0"/>
              </a:defRPr>
            </a:lvl2pPr>
            <a:lvl3pPr marL="2171334" indent="-342900" algn="l" defTabSz="1828434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buClr>
                <a:srgbClr val="47CBB8"/>
              </a:buClr>
              <a:buSzPct val="110000"/>
              <a:buFont typeface="Mont AS Heavy" panose="00000900000000000000" pitchFamily="2" charset="0"/>
              <a:buChar char="~"/>
              <a:defRPr lang="en-US" sz="2500" b="0" i="0" kern="1200" dirty="0" smtClean="0">
                <a:solidFill>
                  <a:srgbClr val="0F0F38"/>
                </a:solidFill>
                <a:effectLst/>
                <a:latin typeface="Mont AS" panose="00000500000000000000" pitchFamily="2" charset="0"/>
                <a:ea typeface="Mont AS" panose="00000500000000000000" pitchFamily="2" charset="0"/>
                <a:cs typeface="Mont AS" panose="00000500000000000000" pitchFamily="2" charset="0"/>
              </a:defRPr>
            </a:lvl3pPr>
            <a:lvl4pPr marL="3085551" indent="-34290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7CBB8"/>
              </a:buClr>
              <a:buSzPct val="110000"/>
              <a:buFont typeface="Mont AS Heavy" panose="00000900000000000000" pitchFamily="2" charset="0"/>
              <a:buChar char="~"/>
              <a:defRPr lang="en-US" sz="2500" b="0" i="0" kern="1200" dirty="0" smtClean="0">
                <a:solidFill>
                  <a:srgbClr val="0F0F38"/>
                </a:solidFill>
                <a:effectLst/>
                <a:latin typeface="+mj-lt"/>
                <a:ea typeface="Arial Nova Light" panose="020B0304020202020204" pitchFamily="34" charset="0"/>
                <a:cs typeface="Arial Nova Light" panose="020B0304020202020204" pitchFamily="34" charset="0"/>
              </a:defRPr>
            </a:lvl4pPr>
            <a:lvl5pPr marL="3999768" indent="-342900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47CBB8"/>
              </a:buClr>
              <a:buSzPct val="110000"/>
              <a:buFont typeface="Mont AS Heavy" panose="00000900000000000000" pitchFamily="2" charset="0"/>
              <a:buChar char="~"/>
              <a:defRPr lang="en-US" sz="2500" b="0" i="0" kern="1200" dirty="0">
                <a:solidFill>
                  <a:srgbClr val="0F0F38"/>
                </a:solidFill>
                <a:effectLst/>
                <a:latin typeface="+mj-lt"/>
                <a:ea typeface="Arial Nova Light" panose="020B0304020202020204" pitchFamily="34" charset="0"/>
                <a:cs typeface="Arial Nova Light" panose="020B0304020202020204" pitchFamily="34" charset="0"/>
              </a:defRPr>
            </a:lvl5pPr>
            <a:lvl6pPr marL="5028194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3"/>
              </a:buClr>
              <a:buSzPct val="110000"/>
              <a:buFont typeface="Mont AS Heavy" panose="00000900000000000000" pitchFamily="2" charset="0"/>
              <a:buChar char="~"/>
              <a:defRPr sz="25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6pPr>
            <a:lvl7pPr marL="5942411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6628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0846" indent="-457109" algn="l" defTabSz="1828434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>
                <a:solidFill>
                  <a:schemeClr val="tx1"/>
                </a:solidFill>
                <a:cs typeface="Arial"/>
              </a:rPr>
              <a:t>Vorbehaltlich Verfügbarkeit // Bei Anlieferung bitte Gestaltungsformular nutzen, sonst zzgl.  300 € Gestaltungskosten</a:t>
            </a:r>
            <a:r>
              <a:rPr lang="de-DE" sz="1200">
                <a:solidFill>
                  <a:schemeClr val="tx1"/>
                </a:solidFill>
              </a:rPr>
              <a:t> </a:t>
            </a:r>
            <a:r>
              <a:rPr lang="de-DE" sz="1200">
                <a:solidFill>
                  <a:schemeClr val="tx1"/>
                </a:solidFill>
                <a:cs typeface="Arial"/>
              </a:rPr>
              <a:t>// Nicht Rabatt-, aber AE-fähig., zzgl. MwSt. // Dieses Angebot ist buchbar ab dem 01.06.2025 und abnehmbar bis zum 31.08.2024. Dieses Angebot gilt nur für regional werbetreibende Kunden. </a:t>
            </a:r>
            <a:endParaRPr lang="de-DE" sz="1200">
              <a:solidFill>
                <a:schemeClr val="tx1"/>
              </a:solidFill>
            </a:endParaRP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E57D24F0-D0F4-0B8E-B343-523BC081EECD}"/>
              </a:ext>
            </a:extLst>
          </p:cNvPr>
          <p:cNvSpPr txBox="1"/>
          <p:nvPr/>
        </p:nvSpPr>
        <p:spPr>
          <a:xfrm>
            <a:off x="1271062" y="3781176"/>
            <a:ext cx="10450887" cy="40010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de-DE" sz="2800">
                <a:solidFill>
                  <a:srgbClr val="0F0F38"/>
                </a:solidFill>
              </a:rPr>
              <a:t>	</a:t>
            </a:r>
            <a:r>
              <a:rPr lang="de-DE" sz="2400">
                <a:solidFill>
                  <a:srgbClr val="0F0F38"/>
                </a:solidFill>
              </a:rPr>
              <a:t>große aufmerksamkeitsstarke Flächen in einem 	halböffentlichen Umfeld nutzen </a:t>
            </a:r>
          </a:p>
          <a:p>
            <a:endParaRPr lang="de-DE" sz="2400">
              <a:solidFill>
                <a:srgbClr val="0F0F38"/>
              </a:solidFill>
            </a:endParaRPr>
          </a:p>
          <a:p>
            <a:r>
              <a:rPr lang="de-DE" sz="2400">
                <a:solidFill>
                  <a:srgbClr val="0F0F38"/>
                </a:solidFill>
              </a:rPr>
              <a:t>	animierte Werbung auf unseren digitalen Screens</a:t>
            </a:r>
          </a:p>
          <a:p>
            <a:endParaRPr lang="de-DE" sz="2400">
              <a:solidFill>
                <a:srgbClr val="0F0F38"/>
              </a:solidFill>
            </a:endParaRPr>
          </a:p>
          <a:p>
            <a:endParaRPr lang="de-DE" sz="2400">
              <a:solidFill>
                <a:srgbClr val="0F0F38"/>
              </a:solidFill>
            </a:endParaRPr>
          </a:p>
          <a:p>
            <a:r>
              <a:rPr lang="de-DE" sz="2400">
                <a:solidFill>
                  <a:srgbClr val="0F0F38"/>
                </a:solidFill>
              </a:rPr>
              <a:t>	regionalisierte Kampagnen </a:t>
            </a:r>
            <a:br>
              <a:rPr lang="de-DE" sz="2400">
                <a:solidFill>
                  <a:srgbClr val="0F0F38"/>
                </a:solidFill>
              </a:rPr>
            </a:br>
            <a:r>
              <a:rPr lang="de-DE" sz="2400">
                <a:solidFill>
                  <a:srgbClr val="0F0F38"/>
                </a:solidFill>
              </a:rPr>
              <a:t>	(5-stelliges PLZ-Targeting)	</a:t>
            </a:r>
          </a:p>
          <a:p>
            <a:pPr>
              <a:spcAft>
                <a:spcPts val="1200"/>
              </a:spcAft>
              <a:buClr>
                <a:schemeClr val="accent3">
                  <a:lumMod val="75000"/>
                </a:schemeClr>
              </a:buClr>
            </a:pPr>
            <a:endParaRPr lang="de-DE" sz="2400">
              <a:solidFill>
                <a:srgbClr val="0F0F38"/>
              </a:solidFill>
            </a:endParaRPr>
          </a:p>
          <a:p>
            <a:pPr>
              <a:spcAft>
                <a:spcPts val="1200"/>
              </a:spcAft>
              <a:buClr>
                <a:schemeClr val="accent3">
                  <a:lumMod val="75000"/>
                </a:schemeClr>
              </a:buClr>
            </a:pPr>
            <a:r>
              <a:rPr lang="de-DE" sz="2400" b="1">
                <a:solidFill>
                  <a:srgbClr val="0F0F38"/>
                </a:solidFill>
                <a:latin typeface="Mont AS"/>
              </a:rPr>
              <a:t>	</a:t>
            </a:r>
            <a:r>
              <a:rPr lang="de-DE" sz="2400" b="1">
                <a:solidFill>
                  <a:srgbClr val="B43C65"/>
                </a:solidFill>
                <a:latin typeface="Mont AS"/>
              </a:rPr>
              <a:t>200.000 AI für 3.040,- €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A8D47B37-B991-1964-42D7-EA2CC36F2C12}"/>
              </a:ext>
            </a:extLst>
          </p:cNvPr>
          <p:cNvGrpSpPr/>
          <p:nvPr/>
        </p:nvGrpSpPr>
        <p:grpSpPr>
          <a:xfrm>
            <a:off x="15445803" y="2527429"/>
            <a:ext cx="5650071" cy="9794997"/>
            <a:chOff x="12969256" y="1570115"/>
            <a:chExt cx="5204818" cy="9023104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2F4617F4-B33D-3337-6471-E97A3BF29C3A}"/>
                </a:ext>
              </a:extLst>
            </p:cNvPr>
            <p:cNvGrpSpPr/>
            <p:nvPr userDrawn="1"/>
          </p:nvGrpSpPr>
          <p:grpSpPr>
            <a:xfrm>
              <a:off x="12969256" y="1570115"/>
              <a:ext cx="5204818" cy="9023104"/>
              <a:chOff x="2884762" y="5141694"/>
              <a:chExt cx="3448163" cy="5977759"/>
            </a:xfrm>
          </p:grpSpPr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35A3521B-C47D-E880-1215-8DC9A64DE91D}"/>
                  </a:ext>
                </a:extLst>
              </p:cNvPr>
              <p:cNvGrpSpPr/>
              <p:nvPr userDrawn="1"/>
            </p:nvGrpSpPr>
            <p:grpSpPr>
              <a:xfrm>
                <a:off x="2904880" y="10519409"/>
                <a:ext cx="3428045" cy="600044"/>
                <a:chOff x="8519217" y="9283700"/>
                <a:chExt cx="3428045" cy="600044"/>
              </a:xfrm>
            </p:grpSpPr>
            <p:sp>
              <p:nvSpPr>
                <p:cNvPr id="39" name="Rechteck 23">
                  <a:extLst>
                    <a:ext uri="{FF2B5EF4-FFF2-40B4-BE49-F238E27FC236}">
                      <a16:creationId xmlns:a16="http://schemas.microsoft.com/office/drawing/2014/main" id="{6D8DA500-AAC6-89AF-69FA-4A73D7865AAB}"/>
                    </a:ext>
                  </a:extLst>
                </p:cNvPr>
                <p:cNvSpPr/>
                <p:nvPr userDrawn="1"/>
              </p:nvSpPr>
              <p:spPr>
                <a:xfrm>
                  <a:off x="8519217" y="9307817"/>
                  <a:ext cx="3428045" cy="45499"/>
                </a:xfrm>
                <a:custGeom>
                  <a:avLst/>
                  <a:gdLst>
                    <a:gd name="connsiteX0" fmla="*/ 0 w 3386136"/>
                    <a:gd name="connsiteY0" fmla="*/ 0 h 75197"/>
                    <a:gd name="connsiteX1" fmla="*/ 3386136 w 3386136"/>
                    <a:gd name="connsiteY1" fmla="*/ 0 h 75197"/>
                    <a:gd name="connsiteX2" fmla="*/ 3386136 w 3386136"/>
                    <a:gd name="connsiteY2" fmla="*/ 75197 h 75197"/>
                    <a:gd name="connsiteX3" fmla="*/ 0 w 3386136"/>
                    <a:gd name="connsiteY3" fmla="*/ 75197 h 75197"/>
                    <a:gd name="connsiteX4" fmla="*/ 0 w 3386136"/>
                    <a:gd name="connsiteY4" fmla="*/ 0 h 75197"/>
                    <a:gd name="connsiteX0" fmla="*/ 83344 w 3386136"/>
                    <a:gd name="connsiteY0" fmla="*/ 21431 h 75197"/>
                    <a:gd name="connsiteX1" fmla="*/ 3386136 w 3386136"/>
                    <a:gd name="connsiteY1" fmla="*/ 0 h 75197"/>
                    <a:gd name="connsiteX2" fmla="*/ 3386136 w 3386136"/>
                    <a:gd name="connsiteY2" fmla="*/ 75197 h 75197"/>
                    <a:gd name="connsiteX3" fmla="*/ 0 w 3386136"/>
                    <a:gd name="connsiteY3" fmla="*/ 75197 h 75197"/>
                    <a:gd name="connsiteX4" fmla="*/ 83344 w 3386136"/>
                    <a:gd name="connsiteY4" fmla="*/ 21431 h 75197"/>
                    <a:gd name="connsiteX0" fmla="*/ 83344 w 3386136"/>
                    <a:gd name="connsiteY0" fmla="*/ 21431 h 75197"/>
                    <a:gd name="connsiteX1" fmla="*/ 3386136 w 3386136"/>
                    <a:gd name="connsiteY1" fmla="*/ 0 h 75197"/>
                    <a:gd name="connsiteX2" fmla="*/ 3386136 w 3386136"/>
                    <a:gd name="connsiteY2" fmla="*/ 75197 h 75197"/>
                    <a:gd name="connsiteX3" fmla="*/ 0 w 3386136"/>
                    <a:gd name="connsiteY3" fmla="*/ 75197 h 75197"/>
                    <a:gd name="connsiteX4" fmla="*/ 83344 w 3386136"/>
                    <a:gd name="connsiteY4" fmla="*/ 21431 h 75197"/>
                    <a:gd name="connsiteX0" fmla="*/ 85725 w 3388517"/>
                    <a:gd name="connsiteY0" fmla="*/ 21431 h 75197"/>
                    <a:gd name="connsiteX1" fmla="*/ 3388517 w 3388517"/>
                    <a:gd name="connsiteY1" fmla="*/ 0 h 75197"/>
                    <a:gd name="connsiteX2" fmla="*/ 3388517 w 3388517"/>
                    <a:gd name="connsiteY2" fmla="*/ 75197 h 75197"/>
                    <a:gd name="connsiteX3" fmla="*/ 0 w 3388517"/>
                    <a:gd name="connsiteY3" fmla="*/ 44241 h 75197"/>
                    <a:gd name="connsiteX4" fmla="*/ 85725 w 3388517"/>
                    <a:gd name="connsiteY4" fmla="*/ 21431 h 75197"/>
                    <a:gd name="connsiteX0" fmla="*/ 73818 w 3388517"/>
                    <a:gd name="connsiteY0" fmla="*/ 11906 h 75197"/>
                    <a:gd name="connsiteX1" fmla="*/ 3388517 w 3388517"/>
                    <a:gd name="connsiteY1" fmla="*/ 0 h 75197"/>
                    <a:gd name="connsiteX2" fmla="*/ 3388517 w 3388517"/>
                    <a:gd name="connsiteY2" fmla="*/ 75197 h 75197"/>
                    <a:gd name="connsiteX3" fmla="*/ 0 w 3388517"/>
                    <a:gd name="connsiteY3" fmla="*/ 44241 h 75197"/>
                    <a:gd name="connsiteX4" fmla="*/ 73818 w 3388517"/>
                    <a:gd name="connsiteY4" fmla="*/ 11906 h 75197"/>
                    <a:gd name="connsiteX0" fmla="*/ 73818 w 3388517"/>
                    <a:gd name="connsiteY0" fmla="*/ 1755 h 65046"/>
                    <a:gd name="connsiteX1" fmla="*/ 3331367 w 3388517"/>
                    <a:gd name="connsiteY1" fmla="*/ 39856 h 65046"/>
                    <a:gd name="connsiteX2" fmla="*/ 3388517 w 3388517"/>
                    <a:gd name="connsiteY2" fmla="*/ 65046 h 65046"/>
                    <a:gd name="connsiteX3" fmla="*/ 0 w 3388517"/>
                    <a:gd name="connsiteY3" fmla="*/ 34090 h 65046"/>
                    <a:gd name="connsiteX4" fmla="*/ 73818 w 3388517"/>
                    <a:gd name="connsiteY4" fmla="*/ 1755 h 65046"/>
                    <a:gd name="connsiteX0" fmla="*/ 73818 w 3388517"/>
                    <a:gd name="connsiteY0" fmla="*/ 1755 h 65046"/>
                    <a:gd name="connsiteX1" fmla="*/ 3364705 w 3388517"/>
                    <a:gd name="connsiteY1" fmla="*/ 4137 h 65046"/>
                    <a:gd name="connsiteX2" fmla="*/ 3388517 w 3388517"/>
                    <a:gd name="connsiteY2" fmla="*/ 65046 h 65046"/>
                    <a:gd name="connsiteX3" fmla="*/ 0 w 3388517"/>
                    <a:gd name="connsiteY3" fmla="*/ 34090 h 65046"/>
                    <a:gd name="connsiteX4" fmla="*/ 73818 w 3388517"/>
                    <a:gd name="connsiteY4" fmla="*/ 1755 h 65046"/>
                    <a:gd name="connsiteX0" fmla="*/ 73818 w 3402804"/>
                    <a:gd name="connsiteY0" fmla="*/ 1755 h 48378"/>
                    <a:gd name="connsiteX1" fmla="*/ 3364705 w 3402804"/>
                    <a:gd name="connsiteY1" fmla="*/ 4137 h 48378"/>
                    <a:gd name="connsiteX2" fmla="*/ 3402804 w 3402804"/>
                    <a:gd name="connsiteY2" fmla="*/ 48378 h 48378"/>
                    <a:gd name="connsiteX3" fmla="*/ 0 w 3402804"/>
                    <a:gd name="connsiteY3" fmla="*/ 34090 h 48378"/>
                    <a:gd name="connsiteX4" fmla="*/ 73818 w 3402804"/>
                    <a:gd name="connsiteY4" fmla="*/ 1755 h 48378"/>
                    <a:gd name="connsiteX0" fmla="*/ 73818 w 3402804"/>
                    <a:gd name="connsiteY0" fmla="*/ 1755 h 45996"/>
                    <a:gd name="connsiteX1" fmla="*/ 3364705 w 3402804"/>
                    <a:gd name="connsiteY1" fmla="*/ 4137 h 45996"/>
                    <a:gd name="connsiteX2" fmla="*/ 3402804 w 3402804"/>
                    <a:gd name="connsiteY2" fmla="*/ 45996 h 45996"/>
                    <a:gd name="connsiteX3" fmla="*/ 0 w 3402804"/>
                    <a:gd name="connsiteY3" fmla="*/ 34090 h 45996"/>
                    <a:gd name="connsiteX4" fmla="*/ 73818 w 3402804"/>
                    <a:gd name="connsiteY4" fmla="*/ 1755 h 45996"/>
                    <a:gd name="connsiteX0" fmla="*/ 73818 w 3402804"/>
                    <a:gd name="connsiteY0" fmla="*/ 1258 h 45499"/>
                    <a:gd name="connsiteX1" fmla="*/ 3364705 w 3402804"/>
                    <a:gd name="connsiteY1" fmla="*/ 3640 h 45499"/>
                    <a:gd name="connsiteX2" fmla="*/ 3402804 w 3402804"/>
                    <a:gd name="connsiteY2" fmla="*/ 45499 h 45499"/>
                    <a:gd name="connsiteX3" fmla="*/ 0 w 3402804"/>
                    <a:gd name="connsiteY3" fmla="*/ 45499 h 45499"/>
                    <a:gd name="connsiteX4" fmla="*/ 73818 w 3402804"/>
                    <a:gd name="connsiteY4" fmla="*/ 1258 h 45499"/>
                    <a:gd name="connsiteX0" fmla="*/ 73818 w 3428045"/>
                    <a:gd name="connsiteY0" fmla="*/ 1258 h 45499"/>
                    <a:gd name="connsiteX1" fmla="*/ 3364705 w 3428045"/>
                    <a:gd name="connsiteY1" fmla="*/ 3640 h 45499"/>
                    <a:gd name="connsiteX2" fmla="*/ 3428045 w 3428045"/>
                    <a:gd name="connsiteY2" fmla="*/ 45499 h 45499"/>
                    <a:gd name="connsiteX3" fmla="*/ 0 w 3428045"/>
                    <a:gd name="connsiteY3" fmla="*/ 45499 h 45499"/>
                    <a:gd name="connsiteX4" fmla="*/ 73818 w 3428045"/>
                    <a:gd name="connsiteY4" fmla="*/ 1258 h 454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3428045" h="45499">
                      <a:moveTo>
                        <a:pt x="73818" y="1258"/>
                      </a:moveTo>
                      <a:lnTo>
                        <a:pt x="3364705" y="3640"/>
                      </a:lnTo>
                      <a:lnTo>
                        <a:pt x="3428045" y="45499"/>
                      </a:lnTo>
                      <a:lnTo>
                        <a:pt x="0" y="45499"/>
                      </a:lnTo>
                      <a:cubicBezTo>
                        <a:pt x="27781" y="27577"/>
                        <a:pt x="60325" y="-7014"/>
                        <a:pt x="73818" y="1258"/>
                      </a:cubicBezTo>
                      <a:close/>
                    </a:path>
                  </a:pathLst>
                </a:cu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0" name="Rechteck 39">
                  <a:extLst>
                    <a:ext uri="{FF2B5EF4-FFF2-40B4-BE49-F238E27FC236}">
                      <a16:creationId xmlns:a16="http://schemas.microsoft.com/office/drawing/2014/main" id="{E23194DF-DA3C-5C17-D9F3-3D98433C02C6}"/>
                    </a:ext>
                  </a:extLst>
                </p:cNvPr>
                <p:cNvSpPr/>
                <p:nvPr userDrawn="1"/>
              </p:nvSpPr>
              <p:spPr>
                <a:xfrm>
                  <a:off x="8521303" y="9352437"/>
                  <a:ext cx="3421504" cy="531307"/>
                </a:xfrm>
                <a:prstGeom prst="rect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1" name="Rechteck 40">
                  <a:extLst>
                    <a:ext uri="{FF2B5EF4-FFF2-40B4-BE49-F238E27FC236}">
                      <a16:creationId xmlns:a16="http://schemas.microsoft.com/office/drawing/2014/main" id="{B25FF89F-AA9C-582D-5A90-805555CDA670}"/>
                    </a:ext>
                  </a:extLst>
                </p:cNvPr>
                <p:cNvSpPr/>
                <p:nvPr userDrawn="1"/>
              </p:nvSpPr>
              <p:spPr>
                <a:xfrm>
                  <a:off x="8620220" y="9283700"/>
                  <a:ext cx="3219520" cy="45499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8" name="Freihandform: Form 37">
                <a:extLst>
                  <a:ext uri="{FF2B5EF4-FFF2-40B4-BE49-F238E27FC236}">
                    <a16:creationId xmlns:a16="http://schemas.microsoft.com/office/drawing/2014/main" id="{A7DE07E4-C12E-7445-28ED-CAFF19788331}"/>
                  </a:ext>
                </a:extLst>
              </p:cNvPr>
              <p:cNvSpPr/>
              <p:nvPr userDrawn="1"/>
            </p:nvSpPr>
            <p:spPr>
              <a:xfrm>
                <a:off x="2884762" y="5141694"/>
                <a:ext cx="3443039" cy="5379522"/>
              </a:xfrm>
              <a:custGeom>
                <a:avLst/>
                <a:gdLst>
                  <a:gd name="connsiteX0" fmla="*/ 340983 w 3443039"/>
                  <a:gd name="connsiteY0" fmla="*/ 255572 h 5379522"/>
                  <a:gd name="connsiteX1" fmla="*/ 340983 w 3443039"/>
                  <a:gd name="connsiteY1" fmla="*/ 5118148 h 5379522"/>
                  <a:gd name="connsiteX2" fmla="*/ 3103419 w 3443039"/>
                  <a:gd name="connsiteY2" fmla="*/ 5118148 h 5379522"/>
                  <a:gd name="connsiteX3" fmla="*/ 3103419 w 3443039"/>
                  <a:gd name="connsiteY3" fmla="*/ 255572 h 5379522"/>
                  <a:gd name="connsiteX4" fmla="*/ 0 w 3443039"/>
                  <a:gd name="connsiteY4" fmla="*/ 0 h 5379522"/>
                  <a:gd name="connsiteX5" fmla="*/ 3443039 w 3443039"/>
                  <a:gd name="connsiteY5" fmla="*/ 0 h 5379522"/>
                  <a:gd name="connsiteX6" fmla="*/ 3443039 w 3443039"/>
                  <a:gd name="connsiteY6" fmla="*/ 5379522 h 5379522"/>
                  <a:gd name="connsiteX7" fmla="*/ 0 w 3443039"/>
                  <a:gd name="connsiteY7" fmla="*/ 5379522 h 53795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43039" h="5379522">
                    <a:moveTo>
                      <a:pt x="340983" y="255572"/>
                    </a:moveTo>
                    <a:lnTo>
                      <a:pt x="340983" y="5118148"/>
                    </a:lnTo>
                    <a:lnTo>
                      <a:pt x="3103419" y="5118148"/>
                    </a:lnTo>
                    <a:lnTo>
                      <a:pt x="3103419" y="255572"/>
                    </a:lnTo>
                    <a:close/>
                    <a:moveTo>
                      <a:pt x="0" y="0"/>
                    </a:moveTo>
                    <a:lnTo>
                      <a:pt x="3443039" y="0"/>
                    </a:lnTo>
                    <a:lnTo>
                      <a:pt x="3443039" y="5379522"/>
                    </a:lnTo>
                    <a:lnTo>
                      <a:pt x="0" y="5379522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de-DE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36" name="Gleichschenkliges Dreieck 35">
              <a:extLst>
                <a:ext uri="{FF2B5EF4-FFF2-40B4-BE49-F238E27FC236}">
                  <a16:creationId xmlns:a16="http://schemas.microsoft.com/office/drawing/2014/main" id="{17021898-9824-F658-1BD4-2EA151B019A4}"/>
                </a:ext>
              </a:extLst>
            </p:cNvPr>
            <p:cNvSpPr/>
            <p:nvPr userDrawn="1"/>
          </p:nvSpPr>
          <p:spPr>
            <a:xfrm rot="10800000">
              <a:off x="12999621" y="1634973"/>
              <a:ext cx="5012153" cy="8088922"/>
            </a:xfrm>
            <a:prstGeom prst="triangle">
              <a:avLst>
                <a:gd name="adj" fmla="val 100000"/>
              </a:avLst>
            </a:prstGeom>
            <a:solidFill>
              <a:schemeClr val="bg1">
                <a:alpha val="12000"/>
              </a:scheme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bg1"/>
                </a:solidFill>
              </a:endParaRPr>
            </a:p>
          </p:txBody>
        </p:sp>
      </p:grpSp>
      <p:pic>
        <p:nvPicPr>
          <p:cNvPr id="44" name="video-7c7352ae-ef75-4421-8915-644d4dcccef3-opt" hidden="1">
            <a:hlinkClick r:id="" action="ppaction://media"/>
            <a:extLst>
              <a:ext uri="{FF2B5EF4-FFF2-40B4-BE49-F238E27FC236}">
                <a16:creationId xmlns:a16="http://schemas.microsoft.com/office/drawing/2014/main" id="{94CE9F49-CC42-1FFB-D339-1F1FDFEA6DD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5997809" y="2933288"/>
            <a:ext cx="4537662" cy="8066954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DD0A30E-9379-E628-58B7-A6285DB93E0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939307" y="2790450"/>
            <a:ext cx="4605983" cy="8188413"/>
          </a:xfrm>
          <a:prstGeom prst="rect">
            <a:avLst/>
          </a:prstGeom>
        </p:spPr>
      </p:pic>
      <p:pic>
        <p:nvPicPr>
          <p:cNvPr id="61" name="Grafik 60" descr="Schreibtisch Silhouette">
            <a:extLst>
              <a:ext uri="{FF2B5EF4-FFF2-40B4-BE49-F238E27FC236}">
                <a16:creationId xmlns:a16="http://schemas.microsoft.com/office/drawing/2014/main" id="{2168CE95-F0CF-D767-FF96-3358C11261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357868" y="8606288"/>
            <a:ext cx="619516" cy="911084"/>
          </a:xfrm>
          <a:prstGeom prst="rect">
            <a:avLst/>
          </a:prstGeom>
        </p:spPr>
      </p:pic>
      <p:sp>
        <p:nvSpPr>
          <p:cNvPr id="62" name="Textfeld 61">
            <a:extLst>
              <a:ext uri="{FF2B5EF4-FFF2-40B4-BE49-F238E27FC236}">
                <a16:creationId xmlns:a16="http://schemas.microsoft.com/office/drawing/2014/main" id="{D36DB644-B9FA-6F2F-DCA3-7336674DD4B1}"/>
              </a:ext>
            </a:extLst>
          </p:cNvPr>
          <p:cNvSpPr txBox="1"/>
          <p:nvPr/>
        </p:nvSpPr>
        <p:spPr>
          <a:xfrm>
            <a:off x="2078514" y="8954384"/>
            <a:ext cx="1828358" cy="4071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 err="1">
                <a:solidFill>
                  <a:srgbClr val="0F0F38"/>
                </a:solidFill>
              </a:rPr>
              <a:t>CoWorking</a:t>
            </a:r>
            <a:endParaRPr lang="de-DE" sz="2400">
              <a:solidFill>
                <a:srgbClr val="0F0F38"/>
              </a:solidFill>
            </a:endParaRPr>
          </a:p>
        </p:txBody>
      </p:sp>
      <p:pic>
        <p:nvPicPr>
          <p:cNvPr id="63" name="Grafik 62" descr="Kurzhantel Silhouette">
            <a:extLst>
              <a:ext uri="{FF2B5EF4-FFF2-40B4-BE49-F238E27FC236}">
                <a16:creationId xmlns:a16="http://schemas.microsoft.com/office/drawing/2014/main" id="{5C725910-00F9-D88C-31E2-6129583DDD1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393937" y="8656094"/>
            <a:ext cx="564928" cy="830805"/>
          </a:xfrm>
          <a:prstGeom prst="rect">
            <a:avLst/>
          </a:prstGeom>
        </p:spPr>
      </p:pic>
      <p:sp>
        <p:nvSpPr>
          <p:cNvPr id="64" name="Textfeld 63">
            <a:extLst>
              <a:ext uri="{FF2B5EF4-FFF2-40B4-BE49-F238E27FC236}">
                <a16:creationId xmlns:a16="http://schemas.microsoft.com/office/drawing/2014/main" id="{FBA46857-4D4D-1126-5297-E39862A14A5D}"/>
              </a:ext>
            </a:extLst>
          </p:cNvPr>
          <p:cNvSpPr txBox="1"/>
          <p:nvPr/>
        </p:nvSpPr>
        <p:spPr>
          <a:xfrm>
            <a:off x="5054725" y="8954382"/>
            <a:ext cx="1624103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Fitness</a:t>
            </a:r>
          </a:p>
        </p:txBody>
      </p:sp>
      <p:pic>
        <p:nvPicPr>
          <p:cNvPr id="65" name="Grafik 64" descr="Schlafen Silhouette">
            <a:extLst>
              <a:ext uri="{FF2B5EF4-FFF2-40B4-BE49-F238E27FC236}">
                <a16:creationId xmlns:a16="http://schemas.microsoft.com/office/drawing/2014/main" id="{25B49AE2-5C01-34E0-9044-6A1E9BEC4B5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565748" y="8590284"/>
            <a:ext cx="631200" cy="928265"/>
          </a:xfrm>
          <a:prstGeom prst="rect">
            <a:avLst/>
          </a:prstGeom>
        </p:spPr>
      </p:pic>
      <p:sp>
        <p:nvSpPr>
          <p:cNvPr id="66" name="Textfeld 65">
            <a:extLst>
              <a:ext uri="{FF2B5EF4-FFF2-40B4-BE49-F238E27FC236}">
                <a16:creationId xmlns:a16="http://schemas.microsoft.com/office/drawing/2014/main" id="{BEF68D48-1279-B5D5-5EB8-C8F49454165F}"/>
              </a:ext>
            </a:extLst>
          </p:cNvPr>
          <p:cNvSpPr txBox="1"/>
          <p:nvPr/>
        </p:nvSpPr>
        <p:spPr>
          <a:xfrm>
            <a:off x="8273093" y="8954382"/>
            <a:ext cx="2269486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Hotel/</a:t>
            </a:r>
            <a:r>
              <a:rPr lang="de-DE" sz="2400" err="1">
                <a:solidFill>
                  <a:srgbClr val="0F0F38"/>
                </a:solidFill>
              </a:rPr>
              <a:t>Hostel</a:t>
            </a:r>
            <a:endParaRPr lang="de-DE" sz="2400">
              <a:solidFill>
                <a:srgbClr val="0F0F38"/>
              </a:solidFill>
            </a:endParaRPr>
          </a:p>
        </p:txBody>
      </p:sp>
      <p:pic>
        <p:nvPicPr>
          <p:cNvPr id="67" name="Grafik 66" descr="Abheben Silhouette">
            <a:extLst>
              <a:ext uri="{FF2B5EF4-FFF2-40B4-BE49-F238E27FC236}">
                <a16:creationId xmlns:a16="http://schemas.microsoft.com/office/drawing/2014/main" id="{8C9F84CD-D1D6-0C8B-66A9-7AFA52F52CA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161491" y="8623249"/>
            <a:ext cx="619516" cy="911082"/>
          </a:xfrm>
          <a:prstGeom prst="rect">
            <a:avLst/>
          </a:prstGeom>
        </p:spPr>
      </p:pic>
      <p:pic>
        <p:nvPicPr>
          <p:cNvPr id="69" name="Grafik 68" descr="Einkaufskorb Silhouette">
            <a:extLst>
              <a:ext uri="{FF2B5EF4-FFF2-40B4-BE49-F238E27FC236}">
                <a16:creationId xmlns:a16="http://schemas.microsoft.com/office/drawing/2014/main" id="{0642F7AA-0241-A9F4-F664-CE7911203403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05689" y="10354709"/>
            <a:ext cx="502899" cy="739580"/>
          </a:xfrm>
          <a:prstGeom prst="rect">
            <a:avLst/>
          </a:prstGeom>
        </p:spPr>
      </p:pic>
      <p:sp>
        <p:nvSpPr>
          <p:cNvPr id="70" name="Textfeld 69">
            <a:extLst>
              <a:ext uri="{FF2B5EF4-FFF2-40B4-BE49-F238E27FC236}">
                <a16:creationId xmlns:a16="http://schemas.microsoft.com/office/drawing/2014/main" id="{77C573C3-1D63-B3CE-C45C-C0C23C779EFC}"/>
              </a:ext>
            </a:extLst>
          </p:cNvPr>
          <p:cNvSpPr txBox="1"/>
          <p:nvPr/>
        </p:nvSpPr>
        <p:spPr>
          <a:xfrm>
            <a:off x="2055816" y="10672952"/>
            <a:ext cx="2008411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Shopping</a:t>
            </a:r>
          </a:p>
        </p:txBody>
      </p:sp>
      <p:pic>
        <p:nvPicPr>
          <p:cNvPr id="71" name="Grafik 70" descr="Auto Silhouette">
            <a:extLst>
              <a:ext uri="{FF2B5EF4-FFF2-40B4-BE49-F238E27FC236}">
                <a16:creationId xmlns:a16="http://schemas.microsoft.com/office/drawing/2014/main" id="{B8D08F58-4D79-E523-6C8C-14C489CE533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4320897" y="10354709"/>
            <a:ext cx="728264" cy="928265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2AF1589E-5677-2B23-2BAD-3CC7DE3044B6}"/>
              </a:ext>
            </a:extLst>
          </p:cNvPr>
          <p:cNvSpPr txBox="1"/>
          <p:nvPr/>
        </p:nvSpPr>
        <p:spPr>
          <a:xfrm>
            <a:off x="5135311" y="10672952"/>
            <a:ext cx="1749497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Tankstellen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0F5FC465-F4F5-920B-021C-CA3D924F6ADA}"/>
              </a:ext>
            </a:extLst>
          </p:cNvPr>
          <p:cNvSpPr txBox="1"/>
          <p:nvPr/>
        </p:nvSpPr>
        <p:spPr>
          <a:xfrm>
            <a:off x="8354000" y="10662813"/>
            <a:ext cx="1749497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Arztpraxen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8335D3F7-7E9F-0440-3D61-36AD72310099}"/>
              </a:ext>
            </a:extLst>
          </p:cNvPr>
          <p:cNvSpPr txBox="1"/>
          <p:nvPr/>
        </p:nvSpPr>
        <p:spPr>
          <a:xfrm>
            <a:off x="11734877" y="10630306"/>
            <a:ext cx="1749498" cy="4996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Fast Food </a:t>
            </a:r>
          </a:p>
        </p:txBody>
      </p:sp>
      <p:pic>
        <p:nvPicPr>
          <p:cNvPr id="76" name="Grafik 75" descr="Burger und Getränk Silhouette">
            <a:extLst>
              <a:ext uri="{FF2B5EF4-FFF2-40B4-BE49-F238E27FC236}">
                <a16:creationId xmlns:a16="http://schemas.microsoft.com/office/drawing/2014/main" id="{79362C2B-5CE8-3C35-0B44-0F4D1F6185D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1109975" y="10430165"/>
            <a:ext cx="667094" cy="667094"/>
          </a:xfrm>
          <a:prstGeom prst="rect">
            <a:avLst/>
          </a:prstGeom>
        </p:spPr>
      </p:pic>
      <p:sp>
        <p:nvSpPr>
          <p:cNvPr id="77" name="Textfeld 76">
            <a:extLst>
              <a:ext uri="{FF2B5EF4-FFF2-40B4-BE49-F238E27FC236}">
                <a16:creationId xmlns:a16="http://schemas.microsoft.com/office/drawing/2014/main" id="{D6C70966-F32D-C1E2-F4DA-4FD7341A659C}"/>
              </a:ext>
            </a:extLst>
          </p:cNvPr>
          <p:cNvSpPr txBox="1"/>
          <p:nvPr/>
        </p:nvSpPr>
        <p:spPr>
          <a:xfrm>
            <a:off x="11881543" y="8905704"/>
            <a:ext cx="2278791" cy="4996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DE" sz="2400">
                <a:solidFill>
                  <a:srgbClr val="0F0F38"/>
                </a:solidFill>
              </a:rPr>
              <a:t>Flughafen</a:t>
            </a:r>
          </a:p>
        </p:txBody>
      </p:sp>
      <p:pic>
        <p:nvPicPr>
          <p:cNvPr id="79" name="Grafik 78" descr="Ärztin Silhouette">
            <a:extLst>
              <a:ext uri="{FF2B5EF4-FFF2-40B4-BE49-F238E27FC236}">
                <a16:creationId xmlns:a16="http://schemas.microsoft.com/office/drawing/2014/main" id="{830CC80C-872A-1E5F-AD80-67848E8552B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7561794" y="10429237"/>
            <a:ext cx="779207" cy="779207"/>
          </a:xfrm>
          <a:prstGeom prst="rect">
            <a:avLst/>
          </a:prstGeom>
        </p:spPr>
      </p:pic>
      <p:pic>
        <p:nvPicPr>
          <p:cNvPr id="82" name="Grafik 81" descr="Ein Bild, das Schrift, Text, Grafiken, Logo enthält.&#10;&#10;Automatisch generierte Beschreibung">
            <a:extLst>
              <a:ext uri="{FF2B5EF4-FFF2-40B4-BE49-F238E27FC236}">
                <a16:creationId xmlns:a16="http://schemas.microsoft.com/office/drawing/2014/main" id="{EC1DDDB6-D9AD-6C9E-2905-98013104E6EA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1664020" y="12459339"/>
            <a:ext cx="1725718" cy="740333"/>
          </a:xfrm>
          <a:prstGeom prst="rect">
            <a:avLst/>
          </a:prstGeom>
        </p:spPr>
      </p:pic>
      <p:pic>
        <p:nvPicPr>
          <p:cNvPr id="2" name="Grafik 1" descr="Trophäe mit einfarbiger Füllung">
            <a:extLst>
              <a:ext uri="{FF2B5EF4-FFF2-40B4-BE49-F238E27FC236}">
                <a16:creationId xmlns:a16="http://schemas.microsoft.com/office/drawing/2014/main" id="{7E60A90D-E8A9-D1DC-B402-AEF1D4F59A0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2155742" y="7247594"/>
            <a:ext cx="640755" cy="640755"/>
          </a:xfrm>
          <a:prstGeom prst="rect">
            <a:avLst/>
          </a:prstGeom>
        </p:spPr>
      </p:pic>
      <p:pic>
        <p:nvPicPr>
          <p:cNvPr id="3" name="Grafik 2" descr="Schwimmen mit einfarbiger Füllung">
            <a:extLst>
              <a:ext uri="{FF2B5EF4-FFF2-40B4-BE49-F238E27FC236}">
                <a16:creationId xmlns:a16="http://schemas.microsoft.com/office/drawing/2014/main" id="{CC4FD2C6-B7F2-F87F-4502-934DE5865BE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977384" y="5977068"/>
            <a:ext cx="871089" cy="871089"/>
          </a:xfrm>
          <a:prstGeom prst="rect">
            <a:avLst/>
          </a:prstGeom>
        </p:spPr>
      </p:pic>
      <p:pic>
        <p:nvPicPr>
          <p:cNvPr id="4" name="Grafik 3" descr="Schwimmen mit einfarbiger Füllung">
            <a:extLst>
              <a:ext uri="{FF2B5EF4-FFF2-40B4-BE49-F238E27FC236}">
                <a16:creationId xmlns:a16="http://schemas.microsoft.com/office/drawing/2014/main" id="{A1900F57-675D-A1A1-7082-5FC8E54E5142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977384" y="3829129"/>
            <a:ext cx="871089" cy="871089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7D3B1997-37AB-231C-0206-9D435EE6BAA8}"/>
              </a:ext>
            </a:extLst>
          </p:cNvPr>
          <p:cNvGrpSpPr/>
          <p:nvPr/>
        </p:nvGrpSpPr>
        <p:grpSpPr>
          <a:xfrm>
            <a:off x="21332987" y="9391197"/>
            <a:ext cx="1581190" cy="963512"/>
            <a:chOff x="7228052" y="3151544"/>
            <a:chExt cx="1571026" cy="957318"/>
          </a:xfrm>
        </p:grpSpPr>
        <p:sp>
          <p:nvSpPr>
            <p:cNvPr id="25" name="Textfeld 24">
              <a:extLst>
                <a:ext uri="{FF2B5EF4-FFF2-40B4-BE49-F238E27FC236}">
                  <a16:creationId xmlns:a16="http://schemas.microsoft.com/office/drawing/2014/main" id="{440D2463-AAD5-5D9B-DEA0-AC263BFE572A}"/>
                </a:ext>
              </a:extLst>
            </p:cNvPr>
            <p:cNvSpPr txBox="1"/>
            <p:nvPr/>
          </p:nvSpPr>
          <p:spPr>
            <a:xfrm>
              <a:off x="7488771" y="3151544"/>
              <a:ext cx="988926" cy="168615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/>
              <a:r>
                <a:rPr lang="de-DE" sz="1400"/>
                <a:t>MIT CONTENT VON:</a:t>
              </a:r>
            </a:p>
          </p:txBody>
        </p:sp>
        <p:pic>
          <p:nvPicPr>
            <p:cNvPr id="26" name="Picture 2" descr="F:\BILD\Logos\4C BILD.jpg">
              <a:extLst>
                <a:ext uri="{FF2B5EF4-FFF2-40B4-BE49-F238E27FC236}">
                  <a16:creationId xmlns:a16="http://schemas.microsoft.com/office/drawing/2014/main" id="{A1A2ED09-6297-2A01-766D-8942AA7998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28052" y="3524108"/>
              <a:ext cx="521438" cy="5847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Grafik 26">
              <a:extLst>
                <a:ext uri="{FF2B5EF4-FFF2-40B4-BE49-F238E27FC236}">
                  <a16:creationId xmlns:a16="http://schemas.microsoft.com/office/drawing/2014/main" id="{F6369F8E-1D8E-4287-15D3-30E392F976DA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>
            <a:xfrm>
              <a:off x="7810152" y="3669041"/>
              <a:ext cx="988926" cy="346667"/>
            </a:xfrm>
            <a:prstGeom prst="rect">
              <a:avLst/>
            </a:prstGeom>
          </p:spPr>
        </p:pic>
      </p:grpSp>
      <p:pic>
        <p:nvPicPr>
          <p:cNvPr id="7" name="Grafik 6" descr="Schwimmen mit einfarbiger Füllung">
            <a:extLst>
              <a:ext uri="{FF2B5EF4-FFF2-40B4-BE49-F238E27FC236}">
                <a16:creationId xmlns:a16="http://schemas.microsoft.com/office/drawing/2014/main" id="{3C314536-DF2B-FAF2-4ADD-6C745395A5E4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977384" y="4748658"/>
            <a:ext cx="871089" cy="871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0921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0" fill="hold"/>
                                        <p:tgtEl>
                                          <p:spTgt spid="4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4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4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4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44"/>
                </p:tgtEl>
              </p:cMediaNode>
            </p:vide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RV_MASTER_FEB-22">
  <a:themeElements>
    <a:clrScheme name="ASRV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F"/>
      </a:accent1>
      <a:accent2>
        <a:srgbClr val="FF00FF"/>
      </a:accent2>
      <a:accent3>
        <a:srgbClr val="00FFFF"/>
      </a:accent3>
      <a:accent4>
        <a:srgbClr val="00FF00"/>
      </a:accent4>
      <a:accent5>
        <a:srgbClr val="FF0000"/>
      </a:accent5>
      <a:accent6>
        <a:srgbClr val="D8D8D8"/>
      </a:accent6>
      <a:hlink>
        <a:srgbClr val="000000"/>
      </a:hlink>
      <a:folHlink>
        <a:srgbClr val="000000"/>
      </a:folHlink>
    </a:clrScheme>
    <a:fontScheme name="Benutzerdefiniert 1">
      <a:majorFont>
        <a:latin typeface="Mont AS"/>
        <a:ea typeface=""/>
        <a:cs typeface=""/>
      </a:majorFont>
      <a:minorFont>
        <a:latin typeface="Mont A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ASRV_MASTER_FEB-22">
  <a:themeElements>
    <a:clrScheme name="ASRV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F"/>
      </a:accent1>
      <a:accent2>
        <a:srgbClr val="FF00FF"/>
      </a:accent2>
      <a:accent3>
        <a:srgbClr val="00FFFF"/>
      </a:accent3>
      <a:accent4>
        <a:srgbClr val="00FF00"/>
      </a:accent4>
      <a:accent5>
        <a:srgbClr val="FF0000"/>
      </a:accent5>
      <a:accent6>
        <a:srgbClr val="D8D8D8"/>
      </a:accent6>
      <a:hlink>
        <a:srgbClr val="000000"/>
      </a:hlink>
      <a:folHlink>
        <a:srgbClr val="000000"/>
      </a:folHlink>
    </a:clrScheme>
    <a:fontScheme name="Benutzerdefiniert 1">
      <a:majorFont>
        <a:latin typeface="Mont AS"/>
        <a:ea typeface=""/>
        <a:cs typeface=""/>
      </a:majorFont>
      <a:minorFont>
        <a:latin typeface="Mont A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ASRV_MASTER_FEB-22">
  <a:themeElements>
    <a:clrScheme name="ASRV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F"/>
      </a:accent1>
      <a:accent2>
        <a:srgbClr val="FF00FF"/>
      </a:accent2>
      <a:accent3>
        <a:srgbClr val="00FFFF"/>
      </a:accent3>
      <a:accent4>
        <a:srgbClr val="00FF00"/>
      </a:accent4>
      <a:accent5>
        <a:srgbClr val="FF0000"/>
      </a:accent5>
      <a:accent6>
        <a:srgbClr val="D8D8D8"/>
      </a:accent6>
      <a:hlink>
        <a:srgbClr val="000000"/>
      </a:hlink>
      <a:folHlink>
        <a:srgbClr val="000000"/>
      </a:folHlink>
    </a:clrScheme>
    <a:fontScheme name="Benutzerdefiniert 1">
      <a:majorFont>
        <a:latin typeface="Mont AS"/>
        <a:ea typeface=""/>
        <a:cs typeface=""/>
      </a:majorFont>
      <a:minorFont>
        <a:latin typeface="Mont A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ASRV_MASTER_FEB-22">
  <a:themeElements>
    <a:clrScheme name="ASRV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00FF"/>
      </a:accent1>
      <a:accent2>
        <a:srgbClr val="FF00FF"/>
      </a:accent2>
      <a:accent3>
        <a:srgbClr val="00FFFF"/>
      </a:accent3>
      <a:accent4>
        <a:srgbClr val="00FF00"/>
      </a:accent4>
      <a:accent5>
        <a:srgbClr val="FF0000"/>
      </a:accent5>
      <a:accent6>
        <a:srgbClr val="D8D8D8"/>
      </a:accent6>
      <a:hlink>
        <a:srgbClr val="000000"/>
      </a:hlink>
      <a:folHlink>
        <a:srgbClr val="000000"/>
      </a:folHlink>
    </a:clrScheme>
    <a:fontScheme name="Benutzerdefiniert 1">
      <a:majorFont>
        <a:latin typeface="Mont AS"/>
        <a:ea typeface=""/>
        <a:cs typeface=""/>
      </a:majorFont>
      <a:minorFont>
        <a:latin typeface="Mont A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BEC61026203AC45AB7968495F274DFC" ma:contentTypeVersion="19" ma:contentTypeDescription="Create a new document." ma:contentTypeScope="" ma:versionID="8691ca04f7d802eede52bfd5c8c203e9">
  <xsd:schema xmlns:xsd="http://www.w3.org/2001/XMLSchema" xmlns:xs="http://www.w3.org/2001/XMLSchema" xmlns:p="http://schemas.microsoft.com/office/2006/metadata/properties" xmlns:ns2="7c6cdb21-0d20-44f7-9d51-089c1549c994" xmlns:ns3="300db0a4-c43f-4d10-a3e6-5d41886d50c7" targetNamespace="http://schemas.microsoft.com/office/2006/metadata/properties" ma:root="true" ma:fieldsID="5b45734975f5c2b83dd3b215e496d8c9" ns2:_="" ns3:_="">
    <xsd:import namespace="7c6cdb21-0d20-44f7-9d51-089c1549c994"/>
    <xsd:import namespace="300db0a4-c43f-4d10-a3e6-5d41886d50c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ink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6cdb21-0d20-44f7-9d51-089c1549c9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ink" ma:index="21" nillable="true" ma:displayName="Link" ma:format="Hyperlink" ma:internalName="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14d3315d-7053-4ff8-b5b6-bb0265383fa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00db0a4-c43f-4d10-a3e6-5d41886d50c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d8a55fb1-58c5-411b-8831-1836d46c6e00}" ma:internalName="TaxCatchAll" ma:showField="CatchAllData" ma:web="300db0a4-c43f-4d10-a3e6-5d41886d50c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00db0a4-c43f-4d10-a3e6-5d41886d50c7">
      <UserInfo>
        <DisplayName>Burghardt, Lenina</DisplayName>
        <AccountId>101</AccountId>
        <AccountType/>
      </UserInfo>
      <UserInfo>
        <DisplayName>Mende, Stephanie</DisplayName>
        <AccountId>194</AccountId>
        <AccountType/>
      </UserInfo>
      <UserInfo>
        <DisplayName>Scheidt, Pascal</DisplayName>
        <AccountId>54</AccountId>
        <AccountType/>
      </UserInfo>
      <UserInfo>
        <DisplayName>Müller, Peter Ludwig</DisplayName>
        <AccountId>24</AccountId>
        <AccountType/>
      </UserInfo>
      <UserInfo>
        <DisplayName>Hasenjäger, Ann Kathrin</DisplayName>
        <AccountId>21</AccountId>
        <AccountType/>
      </UserInfo>
      <UserInfo>
        <DisplayName>Müller, Stefanie</DisplayName>
        <AccountId>210</AccountId>
        <AccountType/>
      </UserInfo>
      <UserInfo>
        <DisplayName>Würger, Svenja</DisplayName>
        <AccountId>94</AccountId>
        <AccountType/>
      </UserInfo>
      <UserInfo>
        <DisplayName>Böhm, Julius</DisplayName>
        <AccountId>135</AccountId>
        <AccountType/>
      </UserInfo>
      <UserInfo>
        <DisplayName>Bertulat, Christa</DisplayName>
        <AccountId>505</AccountId>
        <AccountType/>
      </UserInfo>
      <UserInfo>
        <DisplayName>Brandt, Franziska</DisplayName>
        <AccountId>65</AccountId>
        <AccountType/>
      </UserInfo>
      <UserInfo>
        <DisplayName>Ziegenhagen, Katharina</DisplayName>
        <AccountId>164</AccountId>
        <AccountType/>
      </UserInfo>
      <UserInfo>
        <DisplayName>Hart Fernandez, Annika</DisplayName>
        <AccountId>407</AccountId>
        <AccountType/>
      </UserInfo>
      <UserInfo>
        <DisplayName>Makus, Michael</DisplayName>
        <AccountId>1279</AccountId>
        <AccountType/>
      </UserInfo>
      <UserInfo>
        <DisplayName>Chaves, Adriano</DisplayName>
        <AccountId>936</AccountId>
        <AccountType/>
      </UserInfo>
      <UserInfo>
        <DisplayName>Iasi, Felipe</DisplayName>
        <AccountId>469</AccountId>
        <AccountType/>
      </UserInfo>
      <UserInfo>
        <DisplayName>Quoos, Jana</DisplayName>
        <AccountId>1385</AccountId>
        <AccountType/>
      </UserInfo>
      <UserInfo>
        <DisplayName>SharingLinks.3be9affb-0ffe-4729-b408-2e358c79e89e.AnonymousEdit.ad76ec11-aada-45ad-98f0-653d2aae4339</DisplayName>
        <AccountId>16</AccountId>
        <AccountType/>
      </UserInfo>
      <UserInfo>
        <DisplayName>Alimci, Tamer</DisplayName>
        <AccountId>120</AccountId>
        <AccountType/>
      </UserInfo>
      <UserInfo>
        <DisplayName>Meier, Petra (Bild)</DisplayName>
        <AccountId>75</AccountId>
        <AccountType/>
      </UserInfo>
      <UserInfo>
        <DisplayName>Christiansen, Henning</DisplayName>
        <AccountId>479</AccountId>
        <AccountType/>
      </UserInfo>
      <UserInfo>
        <DisplayName>Eiger, Danielle</DisplayName>
        <AccountId>68</AccountId>
        <AccountType/>
      </UserInfo>
      <UserInfo>
        <DisplayName>Pawletta, Lisa</DisplayName>
        <AccountId>44</AccountId>
        <AccountType/>
      </UserInfo>
      <UserInfo>
        <DisplayName>Prell, Carolin</DisplayName>
        <AccountId>79</AccountId>
        <AccountType/>
      </UserInfo>
      <UserInfo>
        <DisplayName>Jebauer, Manuel (extern)</DisplayName>
        <AccountId>80</AccountId>
        <AccountType/>
      </UserInfo>
      <UserInfo>
        <DisplayName>Bärwolff, Ivonne</DisplayName>
        <AccountId>71</AccountId>
        <AccountType/>
      </UserInfo>
      <UserInfo>
        <DisplayName>Grunenberg, Leonie</DisplayName>
        <AccountId>26</AccountId>
        <AccountType/>
      </UserInfo>
      <UserInfo>
        <DisplayName>Zerrahn, Bente</DisplayName>
        <AccountId>77</AccountId>
        <AccountType/>
      </UserInfo>
      <UserInfo>
        <DisplayName>Müller, Andrea</DisplayName>
        <AccountId>152</AccountId>
        <AccountType/>
      </UserInfo>
      <UserInfo>
        <DisplayName>Walter, Christian</DisplayName>
        <AccountId>78</AccountId>
        <AccountType/>
      </UserInfo>
      <UserInfo>
        <DisplayName>Strauß, Axel</DisplayName>
        <AccountId>284</AccountId>
        <AccountType/>
      </UserInfo>
      <UserInfo>
        <DisplayName>Hammler, Wenke</DisplayName>
        <AccountId>15</AccountId>
        <AccountType/>
      </UserInfo>
      <UserInfo>
        <DisplayName>Bommer, Anja</DisplayName>
        <AccountId>37</AccountId>
        <AccountType/>
      </UserInfo>
    </SharedWithUsers>
    <lcf76f155ced4ddcb4097134ff3c332f xmlns="7c6cdb21-0d20-44f7-9d51-089c1549c994">
      <Terms xmlns="http://schemas.microsoft.com/office/infopath/2007/PartnerControls"/>
    </lcf76f155ced4ddcb4097134ff3c332f>
    <Link xmlns="7c6cdb21-0d20-44f7-9d51-089c1549c994">
      <Url xsi:nil="true"/>
      <Description xsi:nil="true"/>
    </Link>
    <TaxCatchAll xmlns="300db0a4-c43f-4d10-a3e6-5d41886d50c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A931445-8FED-4586-AB73-1703E8640E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6cdb21-0d20-44f7-9d51-089c1549c994"/>
    <ds:schemaRef ds:uri="300db0a4-c43f-4d10-a3e6-5d41886d50c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4114453-6D0C-43BC-8265-C122424B42F9}">
  <ds:schemaRefs>
    <ds:schemaRef ds:uri="http://purl.org/dc/dcmitype/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300db0a4-c43f-4d10-a3e6-5d41886d50c7"/>
    <ds:schemaRef ds:uri="http://schemas.microsoft.com/office/infopath/2007/PartnerControls"/>
    <ds:schemaRef ds:uri="http://www.w3.org/XML/1998/namespace"/>
    <ds:schemaRef ds:uri="7c6cdb21-0d20-44f7-9d51-089c1549c994"/>
    <ds:schemaRef ds:uri="http://schemas.microsoft.com/office/2006/metadata/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0CE8844-1B0C-4AB1-9FCA-3966F2EA4FD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7</Words>
  <Application>Microsoft Office PowerPoint</Application>
  <PresentationFormat>Benutzerdefiniert</PresentationFormat>
  <Paragraphs>21</Paragraphs>
  <Slides>1</Slides>
  <Notes>1</Notes>
  <HiddenSlides>0</HiddenSlides>
  <MMClips>1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6" baseType="lpstr">
      <vt:lpstr>Arial</vt:lpstr>
      <vt:lpstr>Arial Nova</vt:lpstr>
      <vt:lpstr>Arial Nova Light</vt:lpstr>
      <vt:lpstr>Calibri</vt:lpstr>
      <vt:lpstr>Gill Sans</vt:lpstr>
      <vt:lpstr>Mont AS</vt:lpstr>
      <vt:lpstr>Mont AS Heavy</vt:lpstr>
      <vt:lpstr>Mont AS Light</vt:lpstr>
      <vt:lpstr>Poppins</vt:lpstr>
      <vt:lpstr>Wingdings</vt:lpstr>
      <vt:lpstr>ASRV_MASTER_FEB-22</vt:lpstr>
      <vt:lpstr>1_ASRV_MASTER_FEB-22</vt:lpstr>
      <vt:lpstr>2_ASRV_MASTER_FEB-22</vt:lpstr>
      <vt:lpstr>3_ASRV_MASTER_FEB-22</vt:lpstr>
      <vt:lpstr>think-cell Folie</vt:lpstr>
      <vt:lpstr>HERO AREA - TOUCH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xel Springer Regionalvermarktung</dc:title>
  <dc:creator>Grunenberg, Leonie</dc:creator>
  <cp:lastModifiedBy>Löcher, Christin</cp:lastModifiedBy>
  <cp:revision>6</cp:revision>
  <dcterms:created xsi:type="dcterms:W3CDTF">2020-04-22T21:35:27Z</dcterms:created>
  <dcterms:modified xsi:type="dcterms:W3CDTF">2024-05-23T07:0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BEC61026203AC45AB7968495F274DFC</vt:lpwstr>
  </property>
  <property fmtid="{D5CDD505-2E9C-101B-9397-08002B2CF9AE}" pid="3" name="MediaServiceImageTags">
    <vt:lpwstr/>
  </property>
</Properties>
</file>